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dp" ContentType="image/vnd.ms-photo"/>
  <Default Extension="rels" ContentType="application/vnd.openxmlformats-package.relationship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8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19"/>
  </p:handoutMasterIdLst>
  <p:sldIdLst>
    <p:sldId id="256" r:id="rId3"/>
    <p:sldId id="358" r:id="rId5"/>
    <p:sldId id="266" r:id="rId6"/>
    <p:sldId id="14998845" r:id="rId7"/>
    <p:sldId id="14998850" r:id="rId8"/>
    <p:sldId id="14998849" r:id="rId9"/>
    <p:sldId id="14998846" r:id="rId10"/>
    <p:sldId id="14998851" r:id="rId11"/>
    <p:sldId id="14998852" r:id="rId12"/>
    <p:sldId id="14998844" r:id="rId13"/>
    <p:sldId id="368" r:id="rId14"/>
    <p:sldId id="369" r:id="rId15"/>
    <p:sldId id="370" r:id="rId16"/>
    <p:sldId id="371" r:id="rId17"/>
    <p:sldId id="14998853" r:id="rId18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nika  Mahla" initials="AM [7]" lastIdx="1" clrIdx="6"/>
  <p:cmAuthor id="10" name="Sylvia Orgus | i-pointing" initials="SO|i" lastIdx="1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7F7B"/>
    <a:srgbClr val="4D51B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60" autoAdjust="0"/>
    <p:restoredTop sz="95852" autoAdjust="0"/>
  </p:normalViewPr>
  <p:slideViewPr>
    <p:cSldViewPr snapToGrid="0">
      <p:cViewPr varScale="1">
        <p:scale>
          <a:sx n="59" d="100"/>
          <a:sy n="59" d="100"/>
        </p:scale>
        <p:origin x="816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2467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8" Type="http://schemas.openxmlformats.org/officeDocument/2006/relationships/tags" Target="tags/tag68.xml"/><Relationship Id="rId27" Type="http://schemas.openxmlformats.org/officeDocument/2006/relationships/customXml" Target="../customXml/item4.xml"/><Relationship Id="rId26" Type="http://schemas.openxmlformats.org/officeDocument/2006/relationships/customXml" Target="../customXml/item3.xml"/><Relationship Id="rId25" Type="http://schemas.openxmlformats.org/officeDocument/2006/relationships/customXml" Target="../customXml/item2.xml"/><Relationship Id="rId24" Type="http://schemas.openxmlformats.org/officeDocument/2006/relationships/customXml" Target="../customXml/item1.xml"/><Relationship Id="rId23" Type="http://schemas.openxmlformats.org/officeDocument/2006/relationships/commentAuthors" Target="commentAuthors.xml"/><Relationship Id="rId22" Type="http://schemas.openxmlformats.org/officeDocument/2006/relationships/tableStyles" Target="tableStyles.xml"/><Relationship Id="rId21" Type="http://schemas.openxmlformats.org/officeDocument/2006/relationships/viewProps" Target="viewProps.xml"/><Relationship Id="rId20" Type="http://schemas.openxmlformats.org/officeDocument/2006/relationships/presProps" Target="presProps.xml"/><Relationship Id="rId2" Type="http://schemas.openxmlformats.org/officeDocument/2006/relationships/theme" Target="theme/theme1.xml"/><Relationship Id="rId19" Type="http://schemas.openxmlformats.org/officeDocument/2006/relationships/handoutMaster" Target="handoutMasters/handoutMaster1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651474-28CD-430D-B610-F7DF1B156A36}" type="datetimeFigureOut">
              <a:rPr lang="en-GB" smtClean="0"/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E94E74-2CB2-4465-8CC6-5112F46488E2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B5AE17-8E6C-4009-ACF3-797CFACD3AF1}" type="datetimeFigureOut">
              <a:rPr lang="en-GB" smtClean="0"/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DB125F-D24F-47AE-85FE-C3EFFAB88DFD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45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DB125F-D24F-47AE-85FE-C3EFFAB88DFD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0.vml"/><Relationship Id="rId5" Type="http://schemas.openxmlformats.org/officeDocument/2006/relationships/tags" Target="../tags/tag13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7" Type="http://schemas.openxmlformats.org/officeDocument/2006/relationships/image" Target="../media/image2.jpeg"/><Relationship Id="rId6" Type="http://schemas.openxmlformats.org/officeDocument/2006/relationships/tags" Target="../tags/tag15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tags" Target="../tags/tag17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7" Type="http://schemas.openxmlformats.org/officeDocument/2006/relationships/image" Target="../media/image2.jpeg"/><Relationship Id="rId6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8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4.vml"/><Relationship Id="rId5" Type="http://schemas.openxmlformats.org/officeDocument/2006/relationships/tags" Target="../tags/tag2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5.vml"/><Relationship Id="rId7" Type="http://schemas.openxmlformats.org/officeDocument/2006/relationships/image" Target="../media/image2.jpeg"/><Relationship Id="rId6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5.bin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6.vml"/><Relationship Id="rId5" Type="http://schemas.openxmlformats.org/officeDocument/2006/relationships/tags" Target="../tags/tag25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6.bin"/><Relationship Id="rId2" Type="http://schemas.openxmlformats.org/officeDocument/2006/relationships/tags" Target="../tags/tag24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7" Type="http://schemas.openxmlformats.org/officeDocument/2006/relationships/image" Target="../media/image2.jpeg"/><Relationship Id="rId6" Type="http://schemas.openxmlformats.org/officeDocument/2006/relationships/tags" Target="../tags/tag27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26.xm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tags" Target="../tags/tag2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8.bin"/><Relationship Id="rId2" Type="http://schemas.openxmlformats.org/officeDocument/2006/relationships/tags" Target="../tags/tag28.xm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9.vml"/><Relationship Id="rId5" Type="http://schemas.openxmlformats.org/officeDocument/2006/relationships/tags" Target="../tags/tag3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0.vml"/><Relationship Id="rId5" Type="http://schemas.openxmlformats.org/officeDocument/2006/relationships/tags" Target="../tags/tag33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0.bin"/><Relationship Id="rId2" Type="http://schemas.openxmlformats.org/officeDocument/2006/relationships/tags" Target="../tags/tag32.xml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image" Target="../media/image2.jpeg"/><Relationship Id="rId5" Type="http://schemas.openxmlformats.org/officeDocument/2006/relationships/tags" Target="../tags/tag35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34.xml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2.vml"/><Relationship Id="rId6" Type="http://schemas.openxmlformats.org/officeDocument/2006/relationships/image" Target="../media/image2.jpeg"/><Relationship Id="rId5" Type="http://schemas.openxmlformats.org/officeDocument/2006/relationships/tags" Target="../tags/tag37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2.bin"/><Relationship Id="rId2" Type="http://schemas.openxmlformats.org/officeDocument/2006/relationships/tags" Target="../tags/tag36.xml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3.vml"/><Relationship Id="rId6" Type="http://schemas.openxmlformats.org/officeDocument/2006/relationships/image" Target="../media/image2.jpeg"/><Relationship Id="rId5" Type="http://schemas.openxmlformats.org/officeDocument/2006/relationships/tags" Target="../tags/tag3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3.bin"/><Relationship Id="rId2" Type="http://schemas.openxmlformats.org/officeDocument/2006/relationships/tags" Target="../tags/tag38.xml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4.vml"/><Relationship Id="rId7" Type="http://schemas.openxmlformats.org/officeDocument/2006/relationships/image" Target="../media/image12.emf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4.bin"/><Relationship Id="rId2" Type="http://schemas.openxmlformats.org/officeDocument/2006/relationships/tags" Target="../tags/tag40.xml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.vml"/><Relationship Id="rId7" Type="http://schemas.openxmlformats.org/officeDocument/2006/relationships/image" Target="../media/image13.emf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25.bin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6.vml"/><Relationship Id="rId6" Type="http://schemas.openxmlformats.org/officeDocument/2006/relationships/image" Target="../media/image2.jpeg"/><Relationship Id="rId5" Type="http://schemas.openxmlformats.org/officeDocument/2006/relationships/tags" Target="../tags/tag47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26.bin"/><Relationship Id="rId2" Type="http://schemas.openxmlformats.org/officeDocument/2006/relationships/tags" Target="../tags/tag46.xml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7.vml"/><Relationship Id="rId5" Type="http://schemas.openxmlformats.org/officeDocument/2006/relationships/tags" Target="../tags/tag4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7.bin"/><Relationship Id="rId2" Type="http://schemas.openxmlformats.org/officeDocument/2006/relationships/tags" Target="../tags/tag48.xml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8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8.bin"/><Relationship Id="rId2" Type="http://schemas.openxmlformats.org/officeDocument/2006/relationships/tags" Target="../tags/tag50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6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9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9.bin"/><Relationship Id="rId2" Type="http://schemas.openxmlformats.org/officeDocument/2006/relationships/tags" Target="../tags/tag51.xm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0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0.bin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1.bin"/><Relationship Id="rId2" Type="http://schemas.openxmlformats.org/officeDocument/2006/relationships/tags" Target="../tags/tag53.xm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2.bin"/><Relationship Id="rId2" Type="http://schemas.openxmlformats.org/officeDocument/2006/relationships/tags" Target="../tags/tag54.xml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3.bin"/><Relationship Id="rId2" Type="http://schemas.openxmlformats.org/officeDocument/2006/relationships/tags" Target="../tags/tag55.xml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4.bin"/><Relationship Id="rId2" Type="http://schemas.openxmlformats.org/officeDocument/2006/relationships/tags" Target="../tags/tag56.xml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5.bin"/><Relationship Id="rId2" Type="http://schemas.openxmlformats.org/officeDocument/2006/relationships/tags" Target="../tags/tag57.xml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6.vml"/><Relationship Id="rId6" Type="http://schemas.openxmlformats.org/officeDocument/2006/relationships/image" Target="../media/image2.jpeg"/><Relationship Id="rId5" Type="http://schemas.openxmlformats.org/officeDocument/2006/relationships/tags" Target="../tags/tag59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36.bin"/><Relationship Id="rId2" Type="http://schemas.openxmlformats.org/officeDocument/2006/relationships/tags" Target="../tags/tag58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7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image" Target="../media/image2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8.png"/><Relationship Id="rId4" Type="http://schemas.openxmlformats.org/officeDocument/2006/relationships/image" Target="../media/image3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9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tags" Target="../tags/tag9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9.vml"/><Relationship Id="rId5" Type="http://schemas.openxmlformats.org/officeDocument/2006/relationships/tags" Target="../tags/tag1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9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002007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3600"/>
              </a:lnSpc>
              <a:defRPr sz="4000" b="1" kern="1200" spc="-200" baseline="0">
                <a:solidFill>
                  <a:srgbClr val="FCFA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ER BOLD ARIAL</a:t>
            </a:r>
            <a:br>
              <a:rPr lang="sk-SK" dirty="0"/>
            </a:br>
            <a:r>
              <a:rPr lang="sk-SK" dirty="0"/>
              <a:t>SUBHEADER ARIAL REG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79425" y="6007122"/>
            <a:ext cx="10515600" cy="715963"/>
          </a:xfrm>
        </p:spPr>
        <p:txBody>
          <a:bodyPr/>
          <a:lstStyle>
            <a:lvl1pPr marL="0" indent="0">
              <a:lnSpc>
                <a:spcPts val="2800"/>
              </a:lnSpc>
              <a:buNone/>
              <a:defRPr sz="2800" b="1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pic>
        <p:nvPicPr>
          <p:cNvPr id="3" name="Picture 2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745662" cy="677491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265239"/>
            <a:ext cx="3598863" cy="4506912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6523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745662" cy="67749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265239"/>
            <a:ext cx="3598863" cy="4506912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6523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11" name="Picture 10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5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3525484" cy="677491"/>
          </a:xfrm>
        </p:spPr>
        <p:txBody>
          <a:bodyPr vert="horz"/>
          <a:lstStyle>
            <a:lvl1pPr>
              <a:lnSpc>
                <a:spcPts val="2400"/>
              </a:lnSpc>
              <a:defRPr sz="2400" cap="all" baseline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3684657"/>
            <a:ext cx="5489578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3684657"/>
            <a:ext cx="548957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350121"/>
            <a:ext cx="3525484" cy="677491"/>
          </a:xfrm>
        </p:spPr>
        <p:txBody>
          <a:bodyPr anchor="b"/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6005511" y="941768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79607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6186490" y="1279607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3525484" cy="677491"/>
          </a:xfrm>
        </p:spPr>
        <p:txBody>
          <a:bodyPr vert="horz"/>
          <a:lstStyle>
            <a:lvl1pPr>
              <a:lnSpc>
                <a:spcPts val="24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3684657"/>
            <a:ext cx="5489578" cy="2052650"/>
          </a:xfrm>
        </p:spPr>
        <p:txBody>
          <a:bodyPr/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3684657"/>
            <a:ext cx="548957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350121"/>
            <a:ext cx="3525484" cy="677491"/>
          </a:xfrm>
        </p:spPr>
        <p:txBody>
          <a:bodyPr anchor="b"/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6005511" y="941768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79607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6186490" y="1279607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9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619345"/>
            <a:ext cx="2293200" cy="923330"/>
          </a:xfrm>
        </p:spPr>
        <p:txBody>
          <a:bodyPr vert="horz">
            <a:spAutoFit/>
          </a:bodyPr>
          <a:lstStyle>
            <a:lvl1pPr>
              <a:lnSpc>
                <a:spcPts val="2400"/>
              </a:lnSpc>
              <a:defRPr sz="2400" cap="all" baseline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003338"/>
            <a:ext cx="3240000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003338"/>
            <a:ext cx="324000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003338"/>
            <a:ext cx="324000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6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1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598287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4295775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 hasCustomPrompt="1"/>
          </p:nvPr>
        </p:nvSpPr>
        <p:spPr>
          <a:xfrm>
            <a:off x="8077200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619345"/>
            <a:ext cx="2293200" cy="923330"/>
          </a:xfrm>
        </p:spPr>
        <p:txBody>
          <a:bodyPr vert="horz">
            <a:spAutoFit/>
          </a:bodyPr>
          <a:lstStyle>
            <a:lvl1pPr>
              <a:lnSpc>
                <a:spcPts val="24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003338"/>
            <a:ext cx="3240000" cy="2052650"/>
          </a:xfrm>
        </p:spPr>
        <p:txBody>
          <a:bodyPr/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003338"/>
            <a:ext cx="324000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003338"/>
            <a:ext cx="324000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6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1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598287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4295775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 hasCustomPrompt="1"/>
          </p:nvPr>
        </p:nvSpPr>
        <p:spPr>
          <a:xfrm>
            <a:off x="8077200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9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630481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880" indent="-182880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1632863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1632863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3757095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3757095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3757095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239119"/>
            <a:ext cx="3600448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239119"/>
            <a:ext cx="3600450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239119"/>
            <a:ext cx="3598862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hteck 1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630481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880" indent="-182880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1632863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1632863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3757095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3757095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3757095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239119"/>
            <a:ext cx="3600448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239119"/>
            <a:ext cx="3600450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239119"/>
            <a:ext cx="3598862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15938" y="340388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1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57350"/>
            <a:ext cx="6275388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5388" y="350121"/>
            <a:ext cx="4065233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5388" y="1282650"/>
            <a:ext cx="5400673" cy="45069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white blurry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l="14895" t="26422" r="1273" b="2642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8" name="Picture 7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63595" r="35560"/>
          <a:stretch>
            <a:fillRect/>
          </a:stretch>
        </p:blipFill>
        <p:spPr>
          <a:xfrm>
            <a:off x="1536700" y="0"/>
            <a:ext cx="10655300" cy="6019800"/>
          </a:xfrm>
          <a:prstGeom prst="rect">
            <a:avLst/>
          </a:prstGeom>
          <a:noFill/>
        </p:spPr>
      </p:pic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032574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3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69033"/>
            <a:ext cx="10515600" cy="396070"/>
          </a:xfrm>
        </p:spPr>
        <p:txBody>
          <a:bodyPr anchor="b" anchorCtr="0"/>
          <a:lstStyle>
            <a:lvl1pPr marL="0" indent="0">
              <a:lnSpc>
                <a:spcPts val="2800"/>
              </a:lnSpc>
              <a:buNone/>
              <a:defRPr sz="2800" b="1" spc="-2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THE SPEAKER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66876"/>
            <a:ext cx="3193256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4217" y="354250"/>
            <a:ext cx="6966743" cy="677491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3257" y="1291359"/>
            <a:ext cx="8482806" cy="45069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641201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(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641201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5938" y="265169"/>
            <a:ext cx="8727732" cy="677491"/>
          </a:xfrm>
        </p:spPr>
        <p:txBody>
          <a:bodyPr vert="horz"/>
          <a:lstStyle>
            <a:lvl1pPr>
              <a:lnSpc>
                <a:spcPts val="2400"/>
              </a:lnSpc>
              <a:defRPr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057456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291825"/>
            <a:ext cx="11136132" cy="36779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6" name="Bild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007" y="5960014"/>
            <a:ext cx="1264998" cy="5951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291822"/>
            <a:ext cx="11136132" cy="36779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5" name="Bild 3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729" y="5936457"/>
            <a:ext cx="1619705" cy="6353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750" y="1915722"/>
            <a:ext cx="8727732" cy="1282402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03453" y="2000250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 dirty="0">
                <a:solidFill>
                  <a:schemeClr val="tx2"/>
                </a:solidFill>
              </a:rPr>
              <a:t>Partner Brand</a:t>
            </a:r>
            <a:endParaRPr lang="de-DE" sz="800" b="1" dirty="0">
              <a:solidFill>
                <a:schemeClr val="tx2"/>
              </a:solidFill>
            </a:endParaRPr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287741"/>
            <a:ext cx="11125289" cy="4486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03073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 dirty="0">
                <a:solidFill>
                  <a:schemeClr val="tx2"/>
                </a:solidFill>
              </a:rPr>
              <a:t>Partner Brand</a:t>
            </a:r>
            <a:endParaRPr lang="de-DE" sz="800" b="1" dirty="0">
              <a:solidFill>
                <a:schemeClr val="tx2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Multi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400" b="1" i="0" spc="-200" baseline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6261101" y="1665288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1665288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 dirty="0"/>
              <a:t>Copy text headline bold Arial</a:t>
            </a:r>
            <a:endParaRPr lang="sk-SK" dirty="0"/>
          </a:p>
          <a:p>
            <a:pPr lvl="0"/>
            <a:r>
              <a:rPr lang="sk-SK" dirty="0"/>
              <a:t>Copy text Arial Reg Copy text Copy text Copy text Copy text Copy text Copy text Copy text  Copy text 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01" y="5028142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0" y="5028142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261101" y="3342746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0" y="3342746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ag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blurry blue green and yellow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21875" b="2187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l="778" t="26738" r="42028" b="30096"/>
          <a:stretch>
            <a:fillRect/>
          </a:stretch>
        </p:blipFill>
        <p:spPr>
          <a:xfrm>
            <a:off x="3105150" y="0"/>
            <a:ext cx="9086850" cy="6858000"/>
          </a:xfrm>
          <a:prstGeom prst="rect">
            <a:avLst/>
          </a:prstGeom>
          <a:noFill/>
        </p:spPr>
      </p:pic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511550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9" name="Picture 8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08765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4248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57387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3575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8" name="Text Placehold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82148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3249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300" b="1" i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textbox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4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3575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5" name="Text Placehold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82148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08765" y="2746375"/>
            <a:ext cx="3498988" cy="3635374"/>
          </a:xfrm>
          <a:prstGeom prst="rect">
            <a:avLst/>
          </a:prstGeom>
          <a:solidFill>
            <a:srgbClr val="F7F2F3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4248" y="2746375"/>
            <a:ext cx="3498988" cy="3635374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57387" y="2746375"/>
            <a:ext cx="3498988" cy="3635374"/>
          </a:xfrm>
          <a:prstGeom prst="rect">
            <a:avLst/>
          </a:prstGeom>
          <a:solidFill>
            <a:srgbClr val="F7F2F3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3249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300" b="1" i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665288"/>
            <a:ext cx="3983236" cy="4716461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>
          <a:xfrm>
            <a:off x="4342364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9547677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24"/>
          </p:nvPr>
        </p:nvSpPr>
        <p:spPr>
          <a:xfrm>
            <a:off x="6945020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25"/>
          </p:nvPr>
        </p:nvSpPr>
        <p:spPr>
          <a:xfrm>
            <a:off x="4342364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8" name="Content Placeholder 3"/>
          <p:cNvSpPr>
            <a:spLocks noGrp="1"/>
          </p:cNvSpPr>
          <p:nvPr>
            <p:ph sz="quarter" idx="26"/>
          </p:nvPr>
        </p:nvSpPr>
        <p:spPr>
          <a:xfrm>
            <a:off x="9547677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7"/>
          </p:nvPr>
        </p:nvSpPr>
        <p:spPr>
          <a:xfrm>
            <a:off x="6945020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10"/>
          </p:nvPr>
        </p:nvSpPr>
        <p:spPr>
          <a:xfrm>
            <a:off x="1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3050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6" name="Picture Placeholder 31"/>
          <p:cNvSpPr>
            <a:spLocks noGrp="1"/>
          </p:cNvSpPr>
          <p:nvPr>
            <p:ph type="pic" sz="quarter" idx="26"/>
          </p:nvPr>
        </p:nvSpPr>
        <p:spPr>
          <a:xfrm>
            <a:off x="60960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Picture Placeholder 31"/>
          <p:cNvSpPr>
            <a:spLocks noGrp="1"/>
          </p:cNvSpPr>
          <p:nvPr>
            <p:ph type="pic" sz="quarter" idx="27"/>
          </p:nvPr>
        </p:nvSpPr>
        <p:spPr>
          <a:xfrm>
            <a:off x="9146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1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9" name="Picture Placeholder 31"/>
          <p:cNvSpPr>
            <a:spLocks noGrp="1"/>
          </p:cNvSpPr>
          <p:nvPr>
            <p:ph type="pic" sz="quarter" idx="29"/>
          </p:nvPr>
        </p:nvSpPr>
        <p:spPr>
          <a:xfrm>
            <a:off x="3050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0" name="Picture Placeholder 31"/>
          <p:cNvSpPr>
            <a:spLocks noGrp="1"/>
          </p:cNvSpPr>
          <p:nvPr>
            <p:ph type="pic" sz="quarter" idx="30"/>
          </p:nvPr>
        </p:nvSpPr>
        <p:spPr>
          <a:xfrm>
            <a:off x="60960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1"/>
          <p:cNvSpPr>
            <a:spLocks noGrp="1"/>
          </p:cNvSpPr>
          <p:nvPr>
            <p:ph type="pic" sz="quarter" idx="31"/>
          </p:nvPr>
        </p:nvSpPr>
        <p:spPr>
          <a:xfrm>
            <a:off x="9146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800" y="3848100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33" hasCustomPrompt="1"/>
          </p:nvPr>
        </p:nvSpPr>
        <p:spPr>
          <a:xfrm>
            <a:off x="3044825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34" hasCustomPrompt="1"/>
          </p:nvPr>
        </p:nvSpPr>
        <p:spPr>
          <a:xfrm>
            <a:off x="6100799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35" hasCustomPrompt="1"/>
          </p:nvPr>
        </p:nvSpPr>
        <p:spPr>
          <a:xfrm>
            <a:off x="9156775" y="3848100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9" name="Text Placeholder 33"/>
          <p:cNvSpPr>
            <a:spLocks noGrp="1"/>
          </p:cNvSpPr>
          <p:nvPr>
            <p:ph type="body" sz="quarter" idx="36" hasCustomPrompt="1"/>
          </p:nvPr>
        </p:nvSpPr>
        <p:spPr>
          <a:xfrm>
            <a:off x="4800" y="5970587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40" name="Text Placeholder 33"/>
          <p:cNvSpPr>
            <a:spLocks noGrp="1"/>
          </p:cNvSpPr>
          <p:nvPr>
            <p:ph type="body" sz="quarter" idx="37" hasCustomPrompt="1"/>
          </p:nvPr>
        </p:nvSpPr>
        <p:spPr>
          <a:xfrm>
            <a:off x="3044825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2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6100799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3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9156775" y="5970587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2811374" y="4259107"/>
            <a:ext cx="2684079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1" y="1665288"/>
            <a:ext cx="2808973" cy="471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79425" y="5308466"/>
            <a:ext cx="2329549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5" name="Picture Placeholder 31"/>
          <p:cNvSpPr>
            <a:spLocks noGrp="1"/>
          </p:cNvSpPr>
          <p:nvPr>
            <p:ph type="pic" sz="quarter" idx="33"/>
          </p:nvPr>
        </p:nvSpPr>
        <p:spPr>
          <a:xfrm>
            <a:off x="5495453" y="4259107"/>
            <a:ext cx="312344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1"/>
          <p:cNvSpPr>
            <a:spLocks noGrp="1"/>
          </p:cNvSpPr>
          <p:nvPr>
            <p:ph type="pic" sz="quarter" idx="34"/>
          </p:nvPr>
        </p:nvSpPr>
        <p:spPr>
          <a:xfrm>
            <a:off x="8618899" y="4259107"/>
            <a:ext cx="3573100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1"/>
          <p:cNvSpPr>
            <a:spLocks noGrp="1"/>
          </p:cNvSpPr>
          <p:nvPr>
            <p:ph type="pic" sz="quarter" idx="35"/>
          </p:nvPr>
        </p:nvSpPr>
        <p:spPr>
          <a:xfrm>
            <a:off x="2811374" y="1665288"/>
            <a:ext cx="4060206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1"/>
          <p:cNvSpPr>
            <a:spLocks noGrp="1"/>
          </p:cNvSpPr>
          <p:nvPr>
            <p:ph type="pic" sz="quarter" idx="36"/>
          </p:nvPr>
        </p:nvSpPr>
        <p:spPr>
          <a:xfrm>
            <a:off x="6866030" y="1665288"/>
            <a:ext cx="2187435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9053465" y="1665288"/>
            <a:ext cx="3138534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3711921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6545655" y="5308466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40" hasCustomPrompt="1"/>
          </p:nvPr>
        </p:nvSpPr>
        <p:spPr>
          <a:xfrm>
            <a:off x="8616499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41" hasCustomPrompt="1"/>
          </p:nvPr>
        </p:nvSpPr>
        <p:spPr>
          <a:xfrm>
            <a:off x="9641731" y="1669715"/>
            <a:ext cx="2070844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42" hasCustomPrompt="1"/>
          </p:nvPr>
        </p:nvSpPr>
        <p:spPr>
          <a:xfrm>
            <a:off x="6872683" y="3187113"/>
            <a:ext cx="2180782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8" name="Text Placeholder 33"/>
          <p:cNvSpPr>
            <a:spLocks noGrp="1"/>
          </p:cNvSpPr>
          <p:nvPr>
            <p:ph type="body" sz="quarter" idx="43" hasCustomPrompt="1"/>
          </p:nvPr>
        </p:nvSpPr>
        <p:spPr>
          <a:xfrm>
            <a:off x="2811374" y="3187113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279609"/>
            <a:ext cx="9540876" cy="106182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2811374" y="4259107"/>
            <a:ext cx="2684079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479425" y="1665288"/>
            <a:ext cx="2329549" cy="471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79425" y="5308466"/>
            <a:ext cx="2329549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5" name="Picture Placeholder 31"/>
          <p:cNvSpPr>
            <a:spLocks noGrp="1"/>
          </p:cNvSpPr>
          <p:nvPr>
            <p:ph type="pic" sz="quarter" idx="33"/>
          </p:nvPr>
        </p:nvSpPr>
        <p:spPr>
          <a:xfrm>
            <a:off x="5495453" y="4259107"/>
            <a:ext cx="312344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1"/>
          <p:cNvSpPr>
            <a:spLocks noGrp="1"/>
          </p:cNvSpPr>
          <p:nvPr>
            <p:ph type="pic" sz="quarter" idx="34"/>
          </p:nvPr>
        </p:nvSpPr>
        <p:spPr>
          <a:xfrm>
            <a:off x="8618899" y="4259107"/>
            <a:ext cx="309367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1"/>
          <p:cNvSpPr>
            <a:spLocks noGrp="1"/>
          </p:cNvSpPr>
          <p:nvPr>
            <p:ph type="pic" sz="quarter" idx="35"/>
          </p:nvPr>
        </p:nvSpPr>
        <p:spPr>
          <a:xfrm>
            <a:off x="2811374" y="1665288"/>
            <a:ext cx="4060206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1"/>
          <p:cNvSpPr>
            <a:spLocks noGrp="1"/>
          </p:cNvSpPr>
          <p:nvPr>
            <p:ph type="pic" sz="quarter" idx="36"/>
          </p:nvPr>
        </p:nvSpPr>
        <p:spPr>
          <a:xfrm>
            <a:off x="6866030" y="1665288"/>
            <a:ext cx="2187435" cy="259381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9053465" y="1665288"/>
            <a:ext cx="2659110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3711921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6545655" y="5308466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40" hasCustomPrompt="1"/>
          </p:nvPr>
        </p:nvSpPr>
        <p:spPr>
          <a:xfrm>
            <a:off x="8616499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41" hasCustomPrompt="1"/>
          </p:nvPr>
        </p:nvSpPr>
        <p:spPr>
          <a:xfrm>
            <a:off x="9641731" y="1669715"/>
            <a:ext cx="2070844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42" hasCustomPrompt="1"/>
          </p:nvPr>
        </p:nvSpPr>
        <p:spPr>
          <a:xfrm>
            <a:off x="6872683" y="3187113"/>
            <a:ext cx="2180782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8" name="Text Placeholder 33"/>
          <p:cNvSpPr>
            <a:spLocks noGrp="1"/>
          </p:cNvSpPr>
          <p:nvPr>
            <p:ph type="body" sz="quarter" idx="43" hasCustomPrompt="1"/>
          </p:nvPr>
        </p:nvSpPr>
        <p:spPr>
          <a:xfrm>
            <a:off x="2811374" y="3187113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icture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79424" y="1665288"/>
            <a:ext cx="2916239" cy="471646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326571"/>
            <a:ext cx="9540876" cy="101486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/>
              <a:t>HEADLINE BOLD ARIAL</a:t>
            </a:r>
            <a:br>
              <a:rPr lang="en-US"/>
            </a:br>
            <a:r>
              <a:rPr lang="en-US"/>
              <a:t>SUBHEAD REG ARIAL</a:t>
            </a:r>
            <a:br>
              <a:rPr lang="en-US"/>
            </a:br>
            <a:r>
              <a:rPr lang="en-US"/>
              <a:t>SUBHEAD REG ARIAL</a:t>
            </a:r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e-DE" sz="6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48291"/>
            <a:ext cx="11160126" cy="1986575"/>
          </a:xfrm>
        </p:spPr>
        <p:txBody>
          <a:bodyPr vert="horz" anchor="t"/>
          <a:lstStyle>
            <a:lvl1pPr algn="l">
              <a:lnSpc>
                <a:spcPts val="6600"/>
              </a:lnSpc>
              <a:defRPr sz="66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4053845"/>
            <a:ext cx="11160125" cy="2327904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p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blurry orange and yellow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21875" b="2187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26738" r="42027" b="30096"/>
          <a:stretch>
            <a:fillRect/>
          </a:stretch>
        </p:blipFill>
        <p:spPr>
          <a:xfrm>
            <a:off x="2981419" y="0"/>
            <a:ext cx="9210581" cy="6858000"/>
          </a:xfrm>
          <a:prstGeom prst="rect">
            <a:avLst/>
          </a:prstGeom>
          <a:noFill/>
        </p:spPr>
      </p:pic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511550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spc="-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sk-SK" dirty="0"/>
              <a:t>AGENDA</a:t>
            </a:r>
            <a:endParaRPr lang="en-US" dirty="0"/>
          </a:p>
        </p:txBody>
      </p:sp>
      <p:pic>
        <p:nvPicPr>
          <p:cNvPr id="4" name="Picture 3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24940" r="52338" b="31895"/>
          <a:stretch>
            <a:fillRect/>
          </a:stretch>
        </p:blipFill>
        <p:spPr>
          <a:xfrm>
            <a:off x="4619625" y="0"/>
            <a:ext cx="7572375" cy="6858000"/>
          </a:xfrm>
          <a:prstGeom prst="rect">
            <a:avLst/>
          </a:prstGeom>
          <a:noFill/>
        </p:spPr>
      </p:pic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bIns="0" anchor="b"/>
          <a:lstStyle>
            <a:lvl1pPr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AGENDA</a:t>
            </a:r>
            <a:endParaRPr lang="en-US" dirty="0"/>
          </a:p>
        </p:txBody>
      </p:sp>
      <p:pic>
        <p:nvPicPr>
          <p:cNvPr id="4" name="Picture 3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3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right light on an orange background&#10;&#10;Description automatically generated"/>
          <p:cNvPicPr>
            <a:picLocks noChangeAspect="1"/>
          </p:cNvPicPr>
          <p:nvPr userDrawn="1"/>
        </p:nvPicPr>
        <p:blipFill rotWithShape="1">
          <a:blip r:embed="rId5"/>
          <a:srcRect l="40581" t="4739" r="37542" b="56369"/>
          <a:stretch>
            <a:fillRect/>
          </a:stretch>
        </p:blipFill>
        <p:spPr>
          <a:xfrm rot="162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"/>
            <a:ext cx="12192000" cy="6858000"/>
          </a:xfrm>
          <a:prstGeom prst="rect">
            <a:avLst/>
          </a:prstGeom>
          <a:solidFill>
            <a:srgbClr val="FF6600">
              <a:alpha val="7000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spc="-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sk-SK" dirty="0"/>
              <a:t>AGENDA</a:t>
            </a:r>
            <a:endParaRPr lang="en-US" dirty="0"/>
          </a:p>
        </p:txBody>
      </p:sp>
      <p:pic>
        <p:nvPicPr>
          <p:cNvPr id="2" name="Picture 1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0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hee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461676"/>
            <a:ext cx="11126315" cy="641201"/>
          </a:xfrm>
        </p:spPr>
        <p:txBody>
          <a:bodyPr vert="horz" wrap="square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31200"/>
            <a:ext cx="7561262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283875"/>
            <a:ext cx="1112631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308713"/>
            <a:ext cx="9144000" cy="677491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4" Type="http://schemas.openxmlformats.org/officeDocument/2006/relationships/theme" Target="../theme/theme1.xml"/><Relationship Id="rId43" Type="http://schemas.openxmlformats.org/officeDocument/2006/relationships/vmlDrawing" Target="../drawings/vmlDrawing37.vml"/><Relationship Id="rId42" Type="http://schemas.openxmlformats.org/officeDocument/2006/relationships/image" Target="../media/image2.jpeg"/><Relationship Id="rId41" Type="http://schemas.openxmlformats.org/officeDocument/2006/relationships/tags" Target="../tags/tag61.xml"/><Relationship Id="rId40" Type="http://schemas.openxmlformats.org/officeDocument/2006/relationships/image" Target="../media/image11.emf"/><Relationship Id="rId4" Type="http://schemas.openxmlformats.org/officeDocument/2006/relationships/slideLayout" Target="../slideLayouts/slideLayout4.xml"/><Relationship Id="rId39" Type="http://schemas.openxmlformats.org/officeDocument/2006/relationships/oleObject" Target="../embeddings/oleObject37.bin"/><Relationship Id="rId38" Type="http://schemas.openxmlformats.org/officeDocument/2006/relationships/tags" Target="../tags/tag60.xml"/><Relationship Id="rId37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9" imgW="10160" imgH="10160" progId="TCLayout.ActiveDocument.1">
                  <p:embed/>
                </p:oleObj>
              </mc:Choice>
              <mc:Fallback>
                <p:oleObj name="think-cell Slide" r:id="rId39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7" y="328189"/>
            <a:ext cx="9144000" cy="6798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8" y="1287741"/>
            <a:ext cx="11126316" cy="44860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  <a:endParaRPr lang="de-DE" dirty="0"/>
          </a:p>
          <a:p>
            <a:pPr lvl="1"/>
            <a:r>
              <a:rPr lang="de-DE" dirty="0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  <a:endParaRPr lang="de-DE" dirty="0"/>
          </a:p>
          <a:p>
            <a:pPr lvl="3"/>
            <a:r>
              <a:rPr lang="de-DE" dirty="0"/>
              <a:t>Vierte Ebene</a:t>
            </a:r>
            <a:endParaRPr lang="de-DE" dirty="0"/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pic>
        <p:nvPicPr>
          <p:cNvPr id="6" name="Picture 5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42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2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4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6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3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10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vmlDrawing" Target="../drawings/vmlDrawing38.v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3.emf"/><Relationship Id="rId3" Type="http://schemas.openxmlformats.org/officeDocument/2006/relationships/oleObject" Target="../embeddings/oleObject38.bin"/><Relationship Id="rId2" Type="http://schemas.openxmlformats.org/officeDocument/2006/relationships/tags" Target="../tags/tag62.xml"/><Relationship Id="rId1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image" Target="../media/image79.png"/><Relationship Id="rId1" Type="http://schemas.openxmlformats.org/officeDocument/2006/relationships/image" Target="../media/image7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7" Type="http://schemas.openxmlformats.org/officeDocument/2006/relationships/image" Target="../media/image15.png"/><Relationship Id="rId6" Type="http://schemas.microsoft.com/office/2007/relationships/hdphoto" Target="../media/image85.wdp"/><Relationship Id="rId5" Type="http://schemas.openxmlformats.org/officeDocument/2006/relationships/image" Target="../media/image84.png"/><Relationship Id="rId4" Type="http://schemas.microsoft.com/office/2007/relationships/hdphoto" Target="../media/image83.wdp"/><Relationship Id="rId3" Type="http://schemas.openxmlformats.org/officeDocument/2006/relationships/image" Target="../media/image82.png"/><Relationship Id="rId2" Type="http://schemas.microsoft.com/office/2007/relationships/hdphoto" Target="../media/image81.wdp"/><Relationship Id="rId1" Type="http://schemas.openxmlformats.org/officeDocument/2006/relationships/image" Target="../media/image80.png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9.xml"/><Relationship Id="rId4" Type="http://schemas.openxmlformats.org/officeDocument/2006/relationships/image" Target="../media/image89.png"/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image" Target="../media/image86.png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image" Target="../media/image90.png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9.xml"/><Relationship Id="rId4" Type="http://schemas.microsoft.com/office/2007/relationships/hdphoto" Target="../media/image98.wdp"/><Relationship Id="rId3" Type="http://schemas.openxmlformats.org/officeDocument/2006/relationships/image" Target="../media/image97.png"/><Relationship Id="rId2" Type="http://schemas.microsoft.com/office/2007/relationships/hdphoto" Target="../media/image96.wdp"/><Relationship Id="rId1" Type="http://schemas.openxmlformats.org/officeDocument/2006/relationships/image" Target="../media/image9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22.png"/><Relationship Id="rId8" Type="http://schemas.openxmlformats.org/officeDocument/2006/relationships/image" Target="../media/image21.png"/><Relationship Id="rId7" Type="http://schemas.openxmlformats.org/officeDocument/2006/relationships/image" Target="../media/image20.png"/><Relationship Id="rId6" Type="http://schemas.microsoft.com/office/2007/relationships/hdphoto" Target="../media/image19.wdp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3" Type="http://schemas.openxmlformats.org/officeDocument/2006/relationships/image" Target="../media/image16.emf"/><Relationship Id="rId2" Type="http://schemas.openxmlformats.org/officeDocument/2006/relationships/oleObject" Target="../embeddings/oleObject39.bin"/><Relationship Id="rId12" Type="http://schemas.openxmlformats.org/officeDocument/2006/relationships/vmlDrawing" Target="../drawings/vmlDrawing39.vml"/><Relationship Id="rId11" Type="http://schemas.openxmlformats.org/officeDocument/2006/relationships/slideLayout" Target="../slideLayouts/slideLayout9.xml"/><Relationship Id="rId10" Type="http://schemas.openxmlformats.org/officeDocument/2006/relationships/image" Target="../media/image23.png"/><Relationship Id="rId1" Type="http://schemas.openxmlformats.org/officeDocument/2006/relationships/tags" Target="../tags/tag63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0.xml"/><Relationship Id="rId4" Type="http://schemas.openxmlformats.org/officeDocument/2006/relationships/image" Target="../media/image25.png"/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9.xml"/><Relationship Id="rId3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7" Type="http://schemas.microsoft.com/office/2007/relationships/hdphoto" Target="../media/image19.wdp"/><Relationship Id="rId6" Type="http://schemas.openxmlformats.org/officeDocument/2006/relationships/image" Target="../media/image18.png"/><Relationship Id="rId5" Type="http://schemas.microsoft.com/office/2007/relationships/hdphoto" Target="../media/image30.wdp"/><Relationship Id="rId4" Type="http://schemas.openxmlformats.org/officeDocument/2006/relationships/image" Target="../media/image29.png"/><Relationship Id="rId3" Type="http://schemas.microsoft.com/office/2007/relationships/hdphoto" Target="../media/image28.wdp"/><Relationship Id="rId2" Type="http://schemas.openxmlformats.org/officeDocument/2006/relationships/image" Target="../media/image27.png"/><Relationship Id="rId1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1.xml"/><Relationship Id="rId4" Type="http://schemas.microsoft.com/office/2007/relationships/hdphoto" Target="../media/image28.wdp"/><Relationship Id="rId3" Type="http://schemas.openxmlformats.org/officeDocument/2006/relationships/image" Target="../media/image27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image" Target="../media/image47.jpeg"/><Relationship Id="rId8" Type="http://schemas.openxmlformats.org/officeDocument/2006/relationships/image" Target="../media/image46.jpeg"/><Relationship Id="rId7" Type="http://schemas.openxmlformats.org/officeDocument/2006/relationships/image" Target="../media/image45.jpeg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3" Type="http://schemas.openxmlformats.org/officeDocument/2006/relationships/image" Target="../media/image41.png"/><Relationship Id="rId23" Type="http://schemas.openxmlformats.org/officeDocument/2006/relationships/slideLayout" Target="../slideLayouts/slideLayout33.xml"/><Relationship Id="rId22" Type="http://schemas.openxmlformats.org/officeDocument/2006/relationships/image" Target="../media/image60.jpeg"/><Relationship Id="rId21" Type="http://schemas.openxmlformats.org/officeDocument/2006/relationships/image" Target="../media/image59.jpeg"/><Relationship Id="rId20" Type="http://schemas.openxmlformats.org/officeDocument/2006/relationships/image" Target="../media/image58.jpeg"/><Relationship Id="rId2" Type="http://schemas.openxmlformats.org/officeDocument/2006/relationships/image" Target="../media/image40.png"/><Relationship Id="rId19" Type="http://schemas.openxmlformats.org/officeDocument/2006/relationships/image" Target="../media/image57.jpeg"/><Relationship Id="rId18" Type="http://schemas.openxmlformats.org/officeDocument/2006/relationships/image" Target="../media/image56.jpeg"/><Relationship Id="rId17" Type="http://schemas.openxmlformats.org/officeDocument/2006/relationships/image" Target="../media/image55.jpeg"/><Relationship Id="rId16" Type="http://schemas.openxmlformats.org/officeDocument/2006/relationships/image" Target="../media/image54.jpeg"/><Relationship Id="rId15" Type="http://schemas.openxmlformats.org/officeDocument/2006/relationships/image" Target="../media/image53.jpeg"/><Relationship Id="rId14" Type="http://schemas.openxmlformats.org/officeDocument/2006/relationships/image" Target="../media/image52.jpeg"/><Relationship Id="rId13" Type="http://schemas.openxmlformats.org/officeDocument/2006/relationships/image" Target="../media/image51.jpeg"/><Relationship Id="rId12" Type="http://schemas.openxmlformats.org/officeDocument/2006/relationships/image" Target="../media/image50.jpeg"/><Relationship Id="rId11" Type="http://schemas.openxmlformats.org/officeDocument/2006/relationships/image" Target="../media/image49.jpeg"/><Relationship Id="rId10" Type="http://schemas.openxmlformats.org/officeDocument/2006/relationships/image" Target="../media/image48.jpeg"/><Relationship Id="rId1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9" Type="http://schemas.microsoft.com/office/2007/relationships/hdphoto" Target="../media/image69.wdp"/><Relationship Id="rId8" Type="http://schemas.openxmlformats.org/officeDocument/2006/relationships/image" Target="../media/image68.png"/><Relationship Id="rId7" Type="http://schemas.microsoft.com/office/2007/relationships/hdphoto" Target="../media/image67.wdp"/><Relationship Id="rId6" Type="http://schemas.openxmlformats.org/officeDocument/2006/relationships/image" Target="../media/image66.png"/><Relationship Id="rId5" Type="http://schemas.microsoft.com/office/2007/relationships/hdphoto" Target="../media/image65.wdp"/><Relationship Id="rId4" Type="http://schemas.openxmlformats.org/officeDocument/2006/relationships/image" Target="../media/image64.png"/><Relationship Id="rId3" Type="http://schemas.microsoft.com/office/2007/relationships/hdphoto" Target="../media/image63.wdp"/><Relationship Id="rId2" Type="http://schemas.openxmlformats.org/officeDocument/2006/relationships/image" Target="../media/image62.png"/><Relationship Id="rId18" Type="http://schemas.openxmlformats.org/officeDocument/2006/relationships/slideLayout" Target="../slideLayouts/slideLayout21.xml"/><Relationship Id="rId17" Type="http://schemas.microsoft.com/office/2007/relationships/hdphoto" Target="../media/image77.wdp"/><Relationship Id="rId16" Type="http://schemas.openxmlformats.org/officeDocument/2006/relationships/image" Target="../media/image76.png"/><Relationship Id="rId15" Type="http://schemas.microsoft.com/office/2007/relationships/hdphoto" Target="../media/image75.wdp"/><Relationship Id="rId14" Type="http://schemas.openxmlformats.org/officeDocument/2006/relationships/image" Target="../media/image74.png"/><Relationship Id="rId13" Type="http://schemas.microsoft.com/office/2007/relationships/hdphoto" Target="../media/image73.wdp"/><Relationship Id="rId12" Type="http://schemas.openxmlformats.org/officeDocument/2006/relationships/image" Target="../media/image72.png"/><Relationship Id="rId11" Type="http://schemas.microsoft.com/office/2007/relationships/hdphoto" Target="../media/image71.wdp"/><Relationship Id="rId10" Type="http://schemas.openxmlformats.org/officeDocument/2006/relationships/image" Target="../media/image70.png"/><Relationship Id="rId1" Type="http://schemas.openxmlformats.org/officeDocument/2006/relationships/image" Target="../media/image6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room with tables and chairs&#10;&#10;Description automatically generated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93153"/>
            <a:ext cx="12192000" cy="8990319"/>
          </a:xfrm>
          <a:prstGeom prst="rect">
            <a:avLst/>
          </a:prstGeom>
        </p:spPr>
      </p:pic>
      <p:graphicFrame>
        <p:nvGraphicFramePr>
          <p:cNvPr id="1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днофазные трековые светильники и аксессуары</a:t>
            </a:r>
            <a:br>
              <a:rPr lang="ru-RU" dirty="0"/>
            </a:br>
            <a:r>
              <a:rPr lang="en-US" sz="4000" dirty="0"/>
              <a:t>LEDVANCE ECO T</a:t>
            </a:r>
            <a:r>
              <a:rPr lang="en-US" sz="4000" b="1" cap="all" baseline="0" dirty="0">
                <a:solidFill>
                  <a:schemeClr val="bg1"/>
                </a:solidFill>
              </a:rPr>
              <a:t>RACKSPOT</a:t>
            </a:r>
            <a:endParaRPr lang="de-DE" dirty="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Новинка!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5355" y="-32658"/>
            <a:ext cx="866775" cy="88582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/>
          <p:cNvSpPr/>
          <p:nvPr/>
        </p:nvSpPr>
        <p:spPr>
          <a:xfrm>
            <a:off x="5975616" y="4021026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9"/>
          <p:cNvSpPr/>
          <p:nvPr/>
        </p:nvSpPr>
        <p:spPr>
          <a:xfrm>
            <a:off x="5975616" y="4021026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0212" y="561649"/>
            <a:ext cx="92246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Как подключить любой светильник к трековой системе  </a:t>
            </a:r>
            <a:r>
              <a:rPr lang="en-US" sz="3200" dirty="0">
                <a:solidFill>
                  <a:schemeClr val="bg1"/>
                </a:solidFill>
              </a:rPr>
              <a:t>LEDVANCE</a:t>
            </a:r>
            <a:r>
              <a:rPr lang="ru-RU" sz="3200" dirty="0">
                <a:solidFill>
                  <a:schemeClr val="bg1"/>
                </a:solidFill>
              </a:rPr>
              <a:t> с помощью адаптеров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02799" y="1388673"/>
            <a:ext cx="6287857" cy="519241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45210" y="1566082"/>
            <a:ext cx="4252009" cy="4547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подключить любой светильник к трековой системе  LEDVANCE с помощью адаптеров</a:t>
            </a:r>
            <a:endParaRPr lang="ru-RU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авнение трековых шинопроводов 1м </a:t>
            </a:r>
            <a:r>
              <a:rPr lang="en-US" dirty="0"/>
              <a:t>LEDVANCE </a:t>
            </a:r>
            <a:r>
              <a:rPr lang="ru-RU" dirty="0"/>
              <a:t>с другим брендом</a:t>
            </a:r>
            <a:endParaRPr lang="ru-RU" dirty="0"/>
          </a:p>
        </p:txBody>
      </p:sp>
      <p:sp>
        <p:nvSpPr>
          <p:cNvPr id="23" name="Заголовок 1"/>
          <p:cNvSpPr txBox="1"/>
          <p:nvPr/>
        </p:nvSpPr>
        <p:spPr bwMode="gray">
          <a:xfrm>
            <a:off x="515937" y="763739"/>
            <a:ext cx="5020796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solidFill>
                  <a:schemeClr val="tx1"/>
                </a:solidFill>
              </a:rPr>
              <a:t>1. Сравнение внешнего вида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1" name="Заголовок 1"/>
          <p:cNvSpPr txBox="1"/>
          <p:nvPr/>
        </p:nvSpPr>
        <p:spPr bwMode="gray">
          <a:xfrm>
            <a:off x="3918856" y="995873"/>
            <a:ext cx="7576458" cy="9046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solidFill>
                  <a:schemeClr val="tx1"/>
                </a:solidFill>
              </a:rPr>
              <a:t>Другой шинопровод:</a:t>
            </a:r>
            <a:endParaRPr lang="ru-RU" sz="1600" dirty="0">
              <a:solidFill>
                <a:schemeClr val="tx1"/>
              </a:solidFill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Заглушка ничем не закреплена, может легко выпасть, а за ней выпадают и оголяются токо-пр. рельсы.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6658" b="99457" l="9695" r="89767">
                        <a14:foregroundMark x1="25494" y1="8696" x2="73609" y2="14674"/>
                        <a14:foregroundMark x1="76840" y1="8152" x2="65171" y2="6929"/>
                        <a14:foregroundMark x1="58348" y1="10326" x2="71634" y2="12364"/>
                        <a14:foregroundMark x1="35429" y1="95633" x2="36984" y2="96467"/>
                        <a14:foregroundMark x1="22801" y1="88859" x2="29952" y2="92695"/>
                        <a14:foregroundMark x1="38050" y1="91708" x2="38779" y2="88451"/>
                        <a14:foregroundMark x1="36984" y1="96467" x2="37305" y2="95034"/>
                        <a14:foregroundMark x1="78815" y1="94565" x2="64093" y2="99457"/>
                        <a14:foregroundMark x1="68582" y1="88451" x2="71275" y2="92255"/>
                        <a14:foregroundMark x1="69838" y1="86005" x2="74327" y2="90761"/>
                        <a14:backgroundMark x1="33034" y1="91712" x2="35368" y2="9565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5936" y="2082555"/>
            <a:ext cx="3614026" cy="477544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059" b="98803" l="6452" r="92903">
                        <a14:foregroundMark x1="60215" y1="6383" x2="74194" y2="6117"/>
                        <a14:foregroundMark x1="85376" y1="5452" x2="82366" y2="19282"/>
                        <a14:foregroundMark x1="55484" y1="3191" x2="72473" y2="2926"/>
                        <a14:foregroundMark x1="72473" y1="2926" x2="88602" y2="3723"/>
                        <a14:foregroundMark x1="88602" y1="3723" x2="69462" y2="87234"/>
                        <a14:foregroundMark x1="52258" y1="8910" x2="60645" y2="59441"/>
                        <a14:foregroundMark x1="60645" y1="59441" x2="51828" y2="87500"/>
                        <a14:foregroundMark x1="51828" y1="87500" x2="68172" y2="97739"/>
                        <a14:foregroundMark x1="68172" y1="97739" x2="83441" y2="92420"/>
                        <a14:foregroundMark x1="83441" y1="92420" x2="90538" y2="84309"/>
                        <a14:foregroundMark x1="84301" y1="46410" x2="89462" y2="89362"/>
                        <a14:foregroundMark x1="93763" y1="4920" x2="88387" y2="68750"/>
                        <a14:foregroundMark x1="70323" y1="13431" x2="78065" y2="67686"/>
                        <a14:foregroundMark x1="44516" y1="18218" x2="16129" y2="19548"/>
                        <a14:foregroundMark x1="16129" y1="19548" x2="14839" y2="25931"/>
                        <a14:foregroundMark x1="48387" y1="17952" x2="62796" y2="69947"/>
                        <a14:foregroundMark x1="62796" y1="69947" x2="64731" y2="71011"/>
                        <a14:foregroundMark x1="52258" y1="52660" x2="59570" y2="72207"/>
                        <a14:foregroundMark x1="51398" y1="29388" x2="46452" y2="53324"/>
                        <a14:foregroundMark x1="46452" y1="53324" x2="51828" y2="66755"/>
                        <a14:foregroundMark x1="51828" y1="66755" x2="54839" y2="61436"/>
                        <a14:foregroundMark x1="45806" y1="67819" x2="53548" y2="74069"/>
                        <a14:foregroundMark x1="49677" y1="70612" x2="50753" y2="96410"/>
                        <a14:foregroundMark x1="14624" y1="95745" x2="47957" y2="94415"/>
                        <a14:foregroundMark x1="47957" y1="94415" x2="76774" y2="94814"/>
                        <a14:foregroundMark x1="16774" y1="96410" x2="76129" y2="94282"/>
                        <a14:foregroundMark x1="76129" y1="94282" x2="47097" y2="98138"/>
                        <a14:foregroundMark x1="47097" y1="98138" x2="47097" y2="98138"/>
                        <a14:foregroundMark x1="86882" y1="98936" x2="89462" y2="74468"/>
                        <a14:foregroundMark x1="77634" y1="68351" x2="82796" y2="89761"/>
                        <a14:foregroundMark x1="82796" y1="89761" x2="82796" y2="89761"/>
                        <a14:foregroundMark x1="78280" y1="80452" x2="78710" y2="89362"/>
                        <a14:foregroundMark x1="90108" y1="27527" x2="84516" y2="73803"/>
                        <a14:foregroundMark x1="24086" y1="25000" x2="9892" y2="20213"/>
                        <a14:foregroundMark x1="9892" y1="20213" x2="12688" y2="97473"/>
                        <a14:foregroundMark x1="6452" y1="22473" x2="10538" y2="38697"/>
                        <a14:foregroundMark x1="8602" y1="55984" x2="10108" y2="34176"/>
                        <a14:foregroundMark x1="30753" y1="19282" x2="11398" y2="20346"/>
                        <a14:foregroundMark x1="11398" y1="20346" x2="11613" y2="20745"/>
                        <a14:foregroundMark x1="12258" y1="19814" x2="12258" y2="19814"/>
                        <a14:foregroundMark x1="20000" y1="29388" x2="29677" y2="3284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90432" y="2319898"/>
            <a:ext cx="2806141" cy="453810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031" b="98177" l="2699" r="92898">
                        <a14:foregroundMark x1="53551" y1="8836" x2="80256" y2="12202"/>
                        <a14:foregroundMark x1="80256" y1="12202" x2="82386" y2="38149"/>
                        <a14:foregroundMark x1="82386" y1="38149" x2="76420" y2="84993"/>
                        <a14:foregroundMark x1="66619" y1="46283" x2="65199" y2="84572"/>
                        <a14:foregroundMark x1="89915" y1="6171" x2="89063" y2="91445"/>
                        <a14:foregroundMark x1="76420" y1="32679" x2="66903" y2="35344"/>
                        <a14:foregroundMark x1="89631" y1="90182" x2="65625" y2="95091"/>
                        <a14:foregroundMark x1="65625" y1="95091" x2="63068" y2="94670"/>
                        <a14:foregroundMark x1="42756" y1="27770" x2="47727" y2="93268"/>
                        <a14:foregroundMark x1="3835" y1="27349" x2="14489" y2="84993"/>
                        <a14:foregroundMark x1="14489" y1="84993" x2="14631" y2="91445"/>
                        <a14:foregroundMark x1="34091" y1="61571" x2="27557" y2="83450"/>
                        <a14:foregroundMark x1="34272" y1="88199" x2="38068" y2="90884"/>
                        <a14:foregroundMark x1="27557" y1="83450" x2="28391" y2="84040"/>
                        <a14:foregroundMark x1="25322" y1="95724" x2="21449" y2="97195"/>
                        <a14:foregroundMark x1="38068" y1="90884" x2="32407" y2="93034"/>
                        <a14:foregroundMark x1="21449" y1="97195" x2="20881" y2="97055"/>
                        <a14:foregroundMark x1="32282" y1="91160" x2="36932" y2="89762"/>
                        <a14:foregroundMark x1="8949" y1="98177" x2="25161" y2="93302"/>
                        <a14:foregroundMark x1="36932" y1="89762" x2="37074" y2="89341"/>
                        <a14:foregroundMark x1="27557" y1="55400" x2="26563" y2="63675"/>
                        <a14:foregroundMark x1="28125" y1="46283" x2="26847" y2="50491"/>
                        <a14:foregroundMark x1="66619" y1="13324" x2="75284" y2="15007"/>
                        <a14:foregroundMark x1="50426" y1="7433" x2="82955" y2="5330"/>
                        <a14:foregroundMark x1="82955" y1="5330" x2="90625" y2="14586"/>
                        <a14:foregroundMark x1="90625" y1="14586" x2="92898" y2="72511"/>
                        <a14:foregroundMark x1="49290" y1="26227" x2="6392" y2="26087"/>
                        <a14:foregroundMark x1="6392" y1="26087" x2="2699" y2="27489"/>
                        <a14:foregroundMark x1="13210" y1="30996" x2="25142" y2="48387"/>
                        <a14:foregroundMark x1="51705" y1="9677" x2="58523" y2="38710"/>
                        <a14:foregroundMark x1="15909" y1="83170" x2="17614" y2="96494"/>
                        <a14:foregroundMark x1="25426" y1="47826" x2="31108" y2="51052"/>
                        <a14:foregroundMark x1="29261" y1="61992" x2="26278" y2="55961"/>
                        <a14:foregroundMark x1="72869" y1="53997" x2="71733" y2="67602"/>
                        <a14:backgroundMark x1="28409" y1="87518" x2="28977" y2="96073"/>
                        <a14:backgroundMark x1="32244" y1="84993" x2="31108" y2="8639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57043" y="2787600"/>
            <a:ext cx="4019020" cy="4070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/>
          <a:srcRect t="845"/>
          <a:stretch>
            <a:fillRect/>
          </a:stretch>
        </p:blipFill>
        <p:spPr>
          <a:xfrm>
            <a:off x="10267269" y="3154259"/>
            <a:ext cx="542246" cy="5494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t="845"/>
          <a:stretch>
            <a:fillRect/>
          </a:stretch>
        </p:blipFill>
        <p:spPr>
          <a:xfrm>
            <a:off x="6096000" y="2512859"/>
            <a:ext cx="542246" cy="5494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7"/>
          <a:srcRect t="845"/>
          <a:stretch>
            <a:fillRect/>
          </a:stretch>
        </p:blipFill>
        <p:spPr>
          <a:xfrm>
            <a:off x="2776984" y="2512858"/>
            <a:ext cx="542246" cy="549481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7967101" y="4016829"/>
            <a:ext cx="1469572" cy="1426889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cxnSp>
        <p:nvCxnSpPr>
          <p:cNvPr id="13" name="Straight Arrow Connector 12"/>
          <p:cNvCxnSpPr/>
          <p:nvPr/>
        </p:nvCxnSpPr>
        <p:spPr bwMode="gray">
          <a:xfrm>
            <a:off x="6638246" y="1948787"/>
            <a:ext cx="1983240" cy="2068042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>
            <a:off x="3918856" y="1948787"/>
            <a:ext cx="757645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авнение трековых шинопроводов 1м </a:t>
            </a:r>
            <a:r>
              <a:rPr lang="en-US" dirty="0"/>
              <a:t>LEDVANCE </a:t>
            </a:r>
            <a:r>
              <a:rPr lang="ru-RU" dirty="0"/>
              <a:t>с другим брендом</a:t>
            </a:r>
            <a:endParaRPr lang="ru-RU" dirty="0"/>
          </a:p>
        </p:txBody>
      </p:sp>
      <p:sp>
        <p:nvSpPr>
          <p:cNvPr id="23" name="Заголовок 1"/>
          <p:cNvSpPr txBox="1"/>
          <p:nvPr/>
        </p:nvSpPr>
        <p:spPr bwMode="gray">
          <a:xfrm>
            <a:off x="515937" y="770999"/>
            <a:ext cx="5020796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>
                <a:solidFill>
                  <a:schemeClr val="tx1"/>
                </a:solidFill>
              </a:rPr>
              <a:t>2</a:t>
            </a:r>
            <a:r>
              <a:rPr lang="ru-RU" sz="1600" dirty="0">
                <a:solidFill>
                  <a:schemeClr val="tx1"/>
                </a:solidFill>
              </a:rPr>
              <a:t>. Сравнение токопроводящих рельс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07370" y="1845704"/>
            <a:ext cx="2197103" cy="356380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4473" y="1834575"/>
            <a:ext cx="2217798" cy="3563805"/>
          </a:xfrm>
          <a:prstGeom prst="rect">
            <a:avLst/>
          </a:prstGeom>
        </p:spPr>
      </p:pic>
      <p:sp>
        <p:nvSpPr>
          <p:cNvPr id="12" name="Заголовок 1"/>
          <p:cNvSpPr txBox="1"/>
          <p:nvPr/>
        </p:nvSpPr>
        <p:spPr bwMode="gray">
          <a:xfrm>
            <a:off x="625605" y="5456848"/>
            <a:ext cx="4396666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LEDVANCE </a:t>
            </a:r>
            <a:r>
              <a:rPr lang="en-US" sz="1800" dirty="0">
                <a:solidFill>
                  <a:schemeClr val="tx1"/>
                </a:solidFill>
              </a:rPr>
              <a:t>– </a:t>
            </a:r>
            <a:r>
              <a:rPr lang="ru-RU" sz="1800" dirty="0">
                <a:solidFill>
                  <a:schemeClr val="tx1"/>
                </a:solidFill>
              </a:rPr>
              <a:t>соответствует </a:t>
            </a:r>
            <a:r>
              <a:rPr lang="en-US" sz="1800" dirty="0">
                <a:solidFill>
                  <a:schemeClr val="tx1"/>
                </a:solidFill>
              </a:rPr>
              <a:t>LVD</a:t>
            </a:r>
            <a:r>
              <a:rPr lang="ru-RU" sz="1800" dirty="0">
                <a:solidFill>
                  <a:schemeClr val="tx1"/>
                </a:solidFill>
              </a:rPr>
              <a:t>, </a:t>
            </a:r>
            <a:endParaRPr lang="en-US" sz="1800" dirty="0">
              <a:solidFill>
                <a:schemeClr val="tx1"/>
              </a:solidFill>
            </a:endParaRPr>
          </a:p>
          <a:p>
            <a:r>
              <a:rPr lang="ru-RU" sz="1800" dirty="0">
                <a:solidFill>
                  <a:schemeClr val="tx1"/>
                </a:solidFill>
              </a:rPr>
              <a:t>током не ударит</a:t>
            </a:r>
            <a:endParaRPr lang="ru-RU" sz="1800" dirty="0">
              <a:solidFill>
                <a:schemeClr val="tx1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4973" y="1894257"/>
            <a:ext cx="1968656" cy="352613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4515" y="1883371"/>
            <a:ext cx="2069515" cy="3548329"/>
          </a:xfrm>
          <a:prstGeom prst="rect">
            <a:avLst/>
          </a:prstGeom>
        </p:spPr>
      </p:pic>
      <p:sp>
        <p:nvSpPr>
          <p:cNvPr id="17" name="Заголовок 1"/>
          <p:cNvSpPr txBox="1"/>
          <p:nvPr/>
        </p:nvSpPr>
        <p:spPr bwMode="gray">
          <a:xfrm>
            <a:off x="6924973" y="5456848"/>
            <a:ext cx="3985951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solidFill>
                  <a:schemeClr val="tx1"/>
                </a:solidFill>
              </a:rPr>
              <a:t>Другой бренд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endParaRPr lang="ru-RU" sz="1800" dirty="0">
              <a:solidFill>
                <a:schemeClr val="tx1"/>
              </a:solidFill>
            </a:endParaRPr>
          </a:p>
          <a:p>
            <a:r>
              <a:rPr lang="en-US" sz="1800" dirty="0">
                <a:solidFill>
                  <a:schemeClr val="tx1"/>
                </a:solidFill>
              </a:rPr>
              <a:t>100% </a:t>
            </a:r>
            <a:r>
              <a:rPr lang="ru-RU" sz="1800" dirty="0">
                <a:solidFill>
                  <a:schemeClr val="tx1"/>
                </a:solidFill>
              </a:rPr>
              <a:t>поражение током</a:t>
            </a:r>
            <a:endParaRPr lang="ru-RU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Сравнение </a:t>
            </a:r>
            <a:r>
              <a:rPr lang="ru-RU" dirty="0"/>
              <a:t>трековых шинопроводов 1м </a:t>
            </a:r>
            <a:r>
              <a:rPr lang="en-US" dirty="0"/>
              <a:t>LEDVANCE </a:t>
            </a:r>
            <a:r>
              <a:rPr lang="ru-RU" dirty="0"/>
              <a:t>с другим брендом</a:t>
            </a:r>
            <a:endParaRPr lang="ru-RU" dirty="0"/>
          </a:p>
        </p:txBody>
      </p:sp>
      <p:sp>
        <p:nvSpPr>
          <p:cNvPr id="23" name="Заголовок 1"/>
          <p:cNvSpPr txBox="1"/>
          <p:nvPr/>
        </p:nvSpPr>
        <p:spPr bwMode="gray">
          <a:xfrm>
            <a:off x="533458" y="785485"/>
            <a:ext cx="5020796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solidFill>
                  <a:schemeClr val="tx1"/>
                </a:solidFill>
              </a:rPr>
              <a:t>3. Сравнение адаптеров подключения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2" name="Заголовок 1"/>
          <p:cNvSpPr txBox="1"/>
          <p:nvPr/>
        </p:nvSpPr>
        <p:spPr bwMode="gray">
          <a:xfrm>
            <a:off x="511356" y="4934597"/>
            <a:ext cx="4916914" cy="14865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/>
              <a:t>LEDVANCE</a:t>
            </a:r>
            <a:r>
              <a:rPr lang="ru-RU" sz="1600" dirty="0"/>
              <a:t>: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дополнительная фиксация проводов, закрытые токопроводящие участки, надежная фиксация заземляющего провода и заземление по всей длине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7" name="Заголовок 1"/>
          <p:cNvSpPr txBox="1"/>
          <p:nvPr/>
        </p:nvSpPr>
        <p:spPr bwMode="gray">
          <a:xfrm>
            <a:off x="6763731" y="5056145"/>
            <a:ext cx="5020795" cy="124575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/>
              <a:t>Другой бренд: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открытые рельсы при подключении, хлипкая фиксация заземляющего провода, заземление только на пластине адаптера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15938" y="1747521"/>
            <a:ext cx="1704748" cy="3323243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9574" y="1423722"/>
            <a:ext cx="1704748" cy="3632423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72867" y="1423722"/>
            <a:ext cx="1454481" cy="362676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0528" y="1711761"/>
            <a:ext cx="723936" cy="3344384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3009" y="2828008"/>
            <a:ext cx="1704748" cy="222813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4294" y="1747521"/>
            <a:ext cx="557677" cy="56993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688801" y="1657836"/>
            <a:ext cx="751114" cy="342631"/>
          </a:xfrm>
          <a:prstGeom prst="rect">
            <a:avLst/>
          </a:prstGeom>
          <a:solidFill>
            <a:srgbClr val="917F7B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авнение трековых шинопроводов 1м </a:t>
            </a:r>
            <a:r>
              <a:rPr lang="en-US" dirty="0"/>
              <a:t>LEDVANCE </a:t>
            </a:r>
            <a:r>
              <a:rPr lang="ru-RU" dirty="0"/>
              <a:t>с другим брендом</a:t>
            </a:r>
            <a:endParaRPr lang="ru-RU" dirty="0"/>
          </a:p>
        </p:txBody>
      </p:sp>
      <p:sp>
        <p:nvSpPr>
          <p:cNvPr id="23" name="Заголовок 1"/>
          <p:cNvSpPr txBox="1"/>
          <p:nvPr/>
        </p:nvSpPr>
        <p:spPr bwMode="gray">
          <a:xfrm>
            <a:off x="515937" y="822645"/>
            <a:ext cx="5020796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solidFill>
                  <a:schemeClr val="tx1"/>
                </a:solidFill>
              </a:rPr>
              <a:t>4. «Бонус»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7" name="Заголовок 1"/>
          <p:cNvSpPr txBox="1"/>
          <p:nvPr/>
        </p:nvSpPr>
        <p:spPr bwMode="gray">
          <a:xfrm>
            <a:off x="594587" y="5288741"/>
            <a:ext cx="7199584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/>
              <a:t>Другой бренд: </a:t>
            </a:r>
            <a:r>
              <a:rPr lang="ru-RU" sz="1600" dirty="0">
                <a:solidFill>
                  <a:schemeClr val="tx1"/>
                </a:solidFill>
              </a:rPr>
              <a:t>деформация шины после демонтажа «родных» треков. Очень хлипкий и тонкий металл.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9804" b="92593" l="1241" r="99172">
                        <a14:foregroundMark x1="1517" y1="15033" x2="87172" y2="28540"/>
                        <a14:foregroundMark x1="87172" y1="28540" x2="94897" y2="83442"/>
                        <a14:foregroundMark x1="94897" y1="83442" x2="2345" y2="78214"/>
                        <a14:foregroundMark x1="1655" y1="27233" x2="4276" y2="66231"/>
                        <a14:foregroundMark x1="7448" y1="37255" x2="71724" y2="49455"/>
                        <a14:foregroundMark x1="24552" y1="18519" x2="58207" y2="25054"/>
                        <a14:foregroundMark x1="58207" y1="25054" x2="94897" y2="24619"/>
                        <a14:foregroundMark x1="94897" y1="24619" x2="99310" y2="22222"/>
                        <a14:foregroundMark x1="97241" y1="20697" x2="22207" y2="16558"/>
                        <a14:foregroundMark x1="10483" y1="33115" x2="47586" y2="30501"/>
                        <a14:foregroundMark x1="47586" y1="30501" x2="93517" y2="35948"/>
                        <a14:foregroundMark x1="93517" y1="35948" x2="94069" y2="36383"/>
                        <a14:foregroundMark x1="10069" y1="17429" x2="35724" y2="42266"/>
                        <a14:foregroundMark x1="34069" y1="29847" x2="62207" y2="28540"/>
                        <a14:foregroundMark x1="62207" y1="28540" x2="66897" y2="29194"/>
                        <a14:foregroundMark x1="95448" y1="34205" x2="18897" y2="30065"/>
                        <a14:foregroundMark x1="18897" y1="30065" x2="9931" y2="33769"/>
                        <a14:foregroundMark x1="9931" y1="33769" x2="8276" y2="37691"/>
                        <a14:foregroundMark x1="27172" y1="33551" x2="61931" y2="35948"/>
                        <a14:foregroundMark x1="42207" y1="35512" x2="40000" y2="38562"/>
                        <a14:foregroundMark x1="15586" y1="44444" x2="48000" y2="49237"/>
                        <a14:foregroundMark x1="30759" y1="51198" x2="77241" y2="47930"/>
                        <a14:foregroundMark x1="76414" y1="56427" x2="7862" y2="47277"/>
                        <a14:foregroundMark x1="7862" y1="47277" x2="5241" y2="54902"/>
                        <a14:foregroundMark x1="28276" y1="58388" x2="70207" y2="50109"/>
                        <a14:foregroundMark x1="73103" y1="56427" x2="28000" y2="52941"/>
                        <a14:foregroundMark x1="46069" y1="52723" x2="63862" y2="50109"/>
                        <a14:foregroundMark x1="63862" y1="50109" x2="71034" y2="54031"/>
                        <a14:foregroundMark x1="65103" y1="37908" x2="61103" y2="37255"/>
                        <a14:foregroundMark x1="97655" y1="36383" x2="99310" y2="35512"/>
                        <a14:foregroundMark x1="95310" y1="89107" x2="55310" y2="92593"/>
                        <a14:foregroundMark x1="41103" y1="35512" x2="42621" y2="383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8036" y="1500136"/>
            <a:ext cx="5477964" cy="346811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10" b="99035" l="0" r="99569">
                        <a14:foregroundMark x1="20259" y1="4633" x2="96121" y2="45753"/>
                        <a14:foregroundMark x1="96121" y1="45753" x2="96121" y2="59846"/>
                        <a14:foregroundMark x1="96121" y1="59846" x2="90302" y2="76448"/>
                        <a14:foregroundMark x1="90302" y1="76448" x2="90302" y2="97297"/>
                        <a14:foregroundMark x1="90302" y1="97297" x2="63362" y2="96525"/>
                        <a14:foregroundMark x1="63362" y1="96525" x2="7974" y2="69498"/>
                        <a14:foregroundMark x1="7974" y1="69498" x2="3664" y2="66023"/>
                        <a14:foregroundMark x1="45259" y1="78571" x2="83405" y2="99035"/>
                        <a14:foregroundMark x1="87069" y1="69112" x2="99569" y2="85714"/>
                        <a14:foregroundMark x1="84483" y1="94015" x2="7759" y2="65830"/>
                        <a14:foregroundMark x1="7759" y1="65830" x2="6466" y2="64286"/>
                        <a14:foregroundMark x1="73276" y1="84942" x2="9052" y2="54633"/>
                        <a14:foregroundMark x1="0" y1="2510" x2="15517" y2="13514"/>
                        <a14:foregroundMark x1="61207" y1="24903" x2="85991" y2="37452"/>
                        <a14:foregroundMark x1="85991" y1="37452" x2="90948" y2="3861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53943" y="1156103"/>
            <a:ext cx="3722914" cy="415618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Переходи на </a:t>
            </a:r>
            <a:r>
              <a:rPr lang="en-US" dirty="0" err="1"/>
              <a:t>ledvance</a:t>
            </a:r>
            <a:r>
              <a:rPr lang="en-US" dirty="0"/>
              <a:t>!</a:t>
            </a:r>
            <a:endParaRPr lang="ru-RU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2" imgW="12700" imgH="12700" progId="TCLayout.ActiveDocument.1">
                  <p:embed/>
                </p:oleObj>
              </mc:Choice>
              <mc:Fallback>
                <p:oleObj name="think-cell Folie" r:id="rId2" imgW="12700" imgH="12700" progId="TCLayout.ActiveDocument.1">
                  <p:embed/>
                  <p:pic>
                    <p:nvPicPr>
                      <p:cNvPr id="0" name="Objekt 15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pieren 12"/>
          <p:cNvGrpSpPr/>
          <p:nvPr/>
        </p:nvGrpSpPr>
        <p:grpSpPr>
          <a:xfrm>
            <a:off x="9069212" y="1860079"/>
            <a:ext cx="2656172" cy="1789649"/>
            <a:chOff x="6114280" y="1860079"/>
            <a:chExt cx="2656172" cy="1789649"/>
          </a:xfrm>
        </p:grpSpPr>
        <p:sp>
          <p:nvSpPr>
            <p:cNvPr id="40" name="Textfeld 39"/>
            <p:cNvSpPr txBox="1"/>
            <p:nvPr/>
          </p:nvSpPr>
          <p:spPr>
            <a:xfrm>
              <a:off x="6114280" y="2295511"/>
              <a:ext cx="2640558" cy="1354217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dirty="0"/>
                <a:t>Преимущественно </a:t>
              </a:r>
              <a:r>
                <a:rPr lang="en-US" sz="1200" dirty="0"/>
                <a:t>Retail </a:t>
              </a:r>
              <a:r>
                <a:rPr lang="ru-RU" sz="1200" dirty="0"/>
                <a:t>канал и </a:t>
              </a:r>
              <a:r>
                <a:rPr lang="en-US" sz="1200" dirty="0"/>
                <a:t>DIY </a:t>
              </a:r>
              <a:r>
                <a:rPr lang="ru-RU" sz="1200" dirty="0"/>
                <a:t>магазины</a:t>
              </a:r>
              <a:endParaRPr lang="ru-RU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dirty="0"/>
                <a:t>5-15</a:t>
              </a:r>
              <a:r>
                <a:rPr lang="en-US" sz="1200" dirty="0"/>
                <a:t>W &amp; </a:t>
              </a:r>
              <a:r>
                <a:rPr lang="ru-RU" sz="1200" dirty="0"/>
                <a:t>Лампочные модели – фокус на </a:t>
              </a:r>
              <a:r>
                <a:rPr lang="en-US" sz="1200" dirty="0"/>
                <a:t>Retail</a:t>
              </a:r>
              <a:endParaRPr lang="en-US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/>
                <a:t>15-30W </a:t>
              </a:r>
              <a:r>
                <a:rPr lang="ru-RU" sz="1200" dirty="0"/>
                <a:t>модели –фокус также на </a:t>
              </a:r>
              <a:r>
                <a:rPr lang="en-US" sz="1200" dirty="0"/>
                <a:t>TRADE </a:t>
              </a:r>
              <a:r>
                <a:rPr lang="ru-RU" sz="1200" dirty="0"/>
                <a:t>канал</a:t>
              </a:r>
              <a:endParaRPr lang="en-US" sz="1200" dirty="0"/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6114280" y="1860079"/>
              <a:ext cx="2656172" cy="360000"/>
              <a:chOff x="6114280" y="1860079"/>
              <a:chExt cx="2656172" cy="360000"/>
            </a:xfrm>
          </p:grpSpPr>
          <p:grpSp>
            <p:nvGrpSpPr>
              <p:cNvPr id="42" name="Gruppieren 41"/>
              <p:cNvGrpSpPr/>
              <p:nvPr/>
            </p:nvGrpSpPr>
            <p:grpSpPr>
              <a:xfrm>
                <a:off x="6114280" y="1860079"/>
                <a:ext cx="2640558" cy="360000"/>
                <a:chOff x="426036" y="1860079"/>
                <a:chExt cx="2640558" cy="360000"/>
              </a:xfrm>
            </p:grpSpPr>
            <p:sp>
              <p:nvSpPr>
                <p:cNvPr id="46" name="AutoShape 3"/>
                <p:cNvSpPr>
                  <a:spLocks noChangeArrowheads="1"/>
                </p:cNvSpPr>
                <p:nvPr/>
              </p:nvSpPr>
              <p:spPr bwMode="auto">
                <a:xfrm>
                  <a:off x="504136" y="1886363"/>
                  <a:ext cx="2562458" cy="30743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6600"/>
                </a:solidFill>
                <a:ln w="0" algn="ctr">
                  <a:noFill/>
                  <a:round/>
                </a:ln>
                <a:effectLst/>
              </p:spPr>
              <p:txBody>
                <a:bodyPr lIns="360000" tIns="0" rIns="36000" bIns="0" anchor="ctr"/>
                <a:lstStyle/>
                <a:p>
                  <a:pPr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ru-RU" altLang="zh-CN" b="1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Позиционирование</a:t>
                  </a:r>
                  <a:endPara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7" name="AutoShape 3"/>
                <p:cNvSpPr>
                  <a:spLocks noChangeArrowheads="1"/>
                </p:cNvSpPr>
                <p:nvPr/>
              </p:nvSpPr>
              <p:spPr bwMode="auto">
                <a:xfrm>
                  <a:off x="426036" y="1860079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0" algn="ctr">
                  <a:solidFill>
                    <a:schemeClr val="accent1"/>
                  </a:solidFill>
                  <a:round/>
                </a:ln>
                <a:effectLst/>
              </p:spPr>
              <p:txBody>
                <a:bodyPr wrap="none" lIns="0" tIns="36000" rIns="0" bIns="36000" anchor="ctr">
                  <a:noAutofit/>
                </a:bodyPr>
                <a:lstStyle/>
                <a:p>
                  <a:pPr algn="ctr"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en-US" altLang="zh-CN" sz="1600" b="1" dirty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 3.</a:t>
                  </a:r>
                  <a:endPara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86" name="Freeform 9"/>
              <p:cNvSpPr>
                <a:spLocks noChangeAspect="1" noEditPoints="1"/>
              </p:cNvSpPr>
              <p:nvPr/>
            </p:nvSpPr>
            <p:spPr bwMode="auto">
              <a:xfrm>
                <a:off x="8484603" y="1914990"/>
                <a:ext cx="285849" cy="270000"/>
              </a:xfrm>
              <a:custGeom>
                <a:avLst/>
                <a:gdLst>
                  <a:gd name="T0" fmla="*/ 550 w 827"/>
                  <a:gd name="T1" fmla="*/ 641 h 785"/>
                  <a:gd name="T2" fmla="*/ 490 w 827"/>
                  <a:gd name="T3" fmla="*/ 624 h 785"/>
                  <a:gd name="T4" fmla="*/ 613 w 827"/>
                  <a:gd name="T5" fmla="*/ 611 h 785"/>
                  <a:gd name="T6" fmla="*/ 583 w 827"/>
                  <a:gd name="T7" fmla="*/ 634 h 785"/>
                  <a:gd name="T8" fmla="*/ 579 w 827"/>
                  <a:gd name="T9" fmla="*/ 636 h 785"/>
                  <a:gd name="T10" fmla="*/ 589 w 827"/>
                  <a:gd name="T11" fmla="*/ 670 h 785"/>
                  <a:gd name="T12" fmla="*/ 613 w 827"/>
                  <a:gd name="T13" fmla="*/ 657 h 785"/>
                  <a:gd name="T14" fmla="*/ 649 w 827"/>
                  <a:gd name="T15" fmla="*/ 619 h 785"/>
                  <a:gd name="T16" fmla="*/ 664 w 827"/>
                  <a:gd name="T17" fmla="*/ 578 h 785"/>
                  <a:gd name="T18" fmla="*/ 652 w 827"/>
                  <a:gd name="T19" fmla="*/ 500 h 785"/>
                  <a:gd name="T20" fmla="*/ 630 w 827"/>
                  <a:gd name="T21" fmla="*/ 564 h 785"/>
                  <a:gd name="T22" fmla="*/ 213 w 827"/>
                  <a:gd name="T23" fmla="*/ 602 h 785"/>
                  <a:gd name="T24" fmla="*/ 210 w 827"/>
                  <a:gd name="T25" fmla="*/ 648 h 785"/>
                  <a:gd name="T26" fmla="*/ 253 w 827"/>
                  <a:gd name="T27" fmla="*/ 624 h 785"/>
                  <a:gd name="T28" fmla="*/ 827 w 827"/>
                  <a:gd name="T29" fmla="*/ 740 h 785"/>
                  <a:gd name="T30" fmla="*/ 716 w 827"/>
                  <a:gd name="T31" fmla="*/ 394 h 785"/>
                  <a:gd name="T32" fmla="*/ 415 w 827"/>
                  <a:gd name="T33" fmla="*/ 383 h 785"/>
                  <a:gd name="T34" fmla="*/ 635 w 827"/>
                  <a:gd name="T35" fmla="*/ 466 h 785"/>
                  <a:gd name="T36" fmla="*/ 188 w 827"/>
                  <a:gd name="T37" fmla="*/ 717 h 785"/>
                  <a:gd name="T38" fmla="*/ 157 w 827"/>
                  <a:gd name="T39" fmla="*/ 681 h 785"/>
                  <a:gd name="T40" fmla="*/ 149 w 827"/>
                  <a:gd name="T41" fmla="*/ 438 h 785"/>
                  <a:gd name="T42" fmla="*/ 121 w 827"/>
                  <a:gd name="T43" fmla="*/ 387 h 785"/>
                  <a:gd name="T44" fmla="*/ 95 w 827"/>
                  <a:gd name="T45" fmla="*/ 417 h 785"/>
                  <a:gd name="T46" fmla="*/ 4 w 827"/>
                  <a:gd name="T47" fmla="*/ 762 h 785"/>
                  <a:gd name="T48" fmla="*/ 38 w 827"/>
                  <a:gd name="T49" fmla="*/ 784 h 785"/>
                  <a:gd name="T50" fmla="*/ 809 w 827"/>
                  <a:gd name="T51" fmla="*/ 776 h 785"/>
                  <a:gd name="T52" fmla="*/ 827 w 827"/>
                  <a:gd name="T53" fmla="*/ 745 h 785"/>
                  <a:gd name="T54" fmla="*/ 256 w 827"/>
                  <a:gd name="T55" fmla="*/ 180 h 785"/>
                  <a:gd name="T56" fmla="*/ 295 w 827"/>
                  <a:gd name="T57" fmla="*/ 231 h 785"/>
                  <a:gd name="T58" fmla="*/ 361 w 827"/>
                  <a:gd name="T59" fmla="*/ 240 h 785"/>
                  <a:gd name="T60" fmla="*/ 412 w 827"/>
                  <a:gd name="T61" fmla="*/ 200 h 785"/>
                  <a:gd name="T62" fmla="*/ 421 w 827"/>
                  <a:gd name="T63" fmla="*/ 134 h 785"/>
                  <a:gd name="T64" fmla="*/ 381 w 827"/>
                  <a:gd name="T65" fmla="*/ 83 h 785"/>
                  <a:gd name="T66" fmla="*/ 315 w 827"/>
                  <a:gd name="T67" fmla="*/ 74 h 785"/>
                  <a:gd name="T68" fmla="*/ 264 w 827"/>
                  <a:gd name="T69" fmla="*/ 114 h 785"/>
                  <a:gd name="T70" fmla="*/ 181 w 827"/>
                  <a:gd name="T71" fmla="*/ 170 h 785"/>
                  <a:gd name="T72" fmla="*/ 190 w 827"/>
                  <a:gd name="T73" fmla="*/ 113 h 785"/>
                  <a:gd name="T74" fmla="*/ 231 w 827"/>
                  <a:gd name="T75" fmla="*/ 49 h 785"/>
                  <a:gd name="T76" fmla="*/ 298 w 827"/>
                  <a:gd name="T77" fmla="*/ 7 h 785"/>
                  <a:gd name="T78" fmla="*/ 378 w 827"/>
                  <a:gd name="T79" fmla="*/ 7 h 785"/>
                  <a:gd name="T80" fmla="*/ 445 w 827"/>
                  <a:gd name="T81" fmla="*/ 49 h 785"/>
                  <a:gd name="T82" fmla="*/ 487 w 827"/>
                  <a:gd name="T83" fmla="*/ 113 h 785"/>
                  <a:gd name="T84" fmla="*/ 495 w 827"/>
                  <a:gd name="T85" fmla="*/ 182 h 785"/>
                  <a:gd name="T86" fmla="*/ 480 w 827"/>
                  <a:gd name="T87" fmla="*/ 232 h 785"/>
                  <a:gd name="T88" fmla="*/ 451 w 827"/>
                  <a:gd name="T89" fmla="*/ 267 h 785"/>
                  <a:gd name="T90" fmla="*/ 376 w 827"/>
                  <a:gd name="T91" fmla="*/ 395 h 785"/>
                  <a:gd name="T92" fmla="*/ 333 w 827"/>
                  <a:gd name="T93" fmla="*/ 491 h 785"/>
                  <a:gd name="T94" fmla="*/ 301 w 827"/>
                  <a:gd name="T95" fmla="*/ 398 h 785"/>
                  <a:gd name="T96" fmla="*/ 250 w 827"/>
                  <a:gd name="T97" fmla="*/ 298 h 785"/>
                  <a:gd name="T98" fmla="*/ 204 w 827"/>
                  <a:gd name="T99" fmla="*/ 244 h 785"/>
                  <a:gd name="T100" fmla="*/ 185 w 827"/>
                  <a:gd name="T101" fmla="*/ 202 h 785"/>
                  <a:gd name="T102" fmla="*/ 334 w 827"/>
                  <a:gd name="T103" fmla="*/ 585 h 785"/>
                  <a:gd name="T104" fmla="*/ 286 w 827"/>
                  <a:gd name="T105" fmla="*/ 619 h 785"/>
                  <a:gd name="T106" fmla="*/ 349 w 827"/>
                  <a:gd name="T107" fmla="*/ 622 h 785"/>
                  <a:gd name="T108" fmla="*/ 382 w 827"/>
                  <a:gd name="T109" fmla="*/ 628 h 785"/>
                  <a:gd name="T110" fmla="*/ 435 w 827"/>
                  <a:gd name="T111" fmla="*/ 604 h 785"/>
                  <a:gd name="T112" fmla="*/ 444 w 827"/>
                  <a:gd name="T113" fmla="*/ 644 h 785"/>
                  <a:gd name="T114" fmla="*/ 385 w 827"/>
                  <a:gd name="T115" fmla="*/ 629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27" h="785">
                    <a:moveTo>
                      <a:pt x="513" y="670"/>
                    </a:moveTo>
                    <a:lnTo>
                      <a:pt x="513" y="670"/>
                    </a:lnTo>
                    <a:lnTo>
                      <a:pt x="525" y="673"/>
                    </a:lnTo>
                    <a:lnTo>
                      <a:pt x="537" y="675"/>
                    </a:lnTo>
                    <a:lnTo>
                      <a:pt x="549" y="677"/>
                    </a:lnTo>
                    <a:lnTo>
                      <a:pt x="550" y="641"/>
                    </a:lnTo>
                    <a:lnTo>
                      <a:pt x="540" y="640"/>
                    </a:lnTo>
                    <a:lnTo>
                      <a:pt x="530" y="638"/>
                    </a:lnTo>
                    <a:lnTo>
                      <a:pt x="519" y="635"/>
                    </a:lnTo>
                    <a:lnTo>
                      <a:pt x="509" y="632"/>
                    </a:lnTo>
                    <a:lnTo>
                      <a:pt x="499" y="628"/>
                    </a:lnTo>
                    <a:lnTo>
                      <a:pt x="490" y="624"/>
                    </a:lnTo>
                    <a:lnTo>
                      <a:pt x="478" y="657"/>
                    </a:lnTo>
                    <a:lnTo>
                      <a:pt x="489" y="661"/>
                    </a:lnTo>
                    <a:lnTo>
                      <a:pt x="501" y="666"/>
                    </a:lnTo>
                    <a:lnTo>
                      <a:pt x="513" y="670"/>
                    </a:lnTo>
                    <a:lnTo>
                      <a:pt x="513" y="670"/>
                    </a:lnTo>
                    <a:close/>
                    <a:moveTo>
                      <a:pt x="613" y="611"/>
                    </a:moveTo>
                    <a:lnTo>
                      <a:pt x="613" y="611"/>
                    </a:lnTo>
                    <a:lnTo>
                      <a:pt x="606" y="618"/>
                    </a:lnTo>
                    <a:lnTo>
                      <a:pt x="599" y="624"/>
                    </a:lnTo>
                    <a:lnTo>
                      <a:pt x="591" y="629"/>
                    </a:lnTo>
                    <a:lnTo>
                      <a:pt x="583" y="634"/>
                    </a:lnTo>
                    <a:lnTo>
                      <a:pt x="583" y="634"/>
                    </a:lnTo>
                    <a:lnTo>
                      <a:pt x="582" y="635"/>
                    </a:lnTo>
                    <a:lnTo>
                      <a:pt x="582" y="635"/>
                    </a:lnTo>
                    <a:lnTo>
                      <a:pt x="581" y="635"/>
                    </a:lnTo>
                    <a:lnTo>
                      <a:pt x="581" y="635"/>
                    </a:lnTo>
                    <a:lnTo>
                      <a:pt x="580" y="636"/>
                    </a:lnTo>
                    <a:lnTo>
                      <a:pt x="579" y="636"/>
                    </a:lnTo>
                    <a:lnTo>
                      <a:pt x="579" y="636"/>
                    </a:lnTo>
                    <a:lnTo>
                      <a:pt x="578" y="636"/>
                    </a:lnTo>
                    <a:lnTo>
                      <a:pt x="578" y="636"/>
                    </a:lnTo>
                    <a:lnTo>
                      <a:pt x="577" y="636"/>
                    </a:lnTo>
                    <a:lnTo>
                      <a:pt x="577" y="637"/>
                    </a:lnTo>
                    <a:lnTo>
                      <a:pt x="589" y="670"/>
                    </a:lnTo>
                    <a:lnTo>
                      <a:pt x="589" y="670"/>
                    </a:lnTo>
                    <a:lnTo>
                      <a:pt x="590" y="669"/>
                    </a:lnTo>
                    <a:lnTo>
                      <a:pt x="592" y="669"/>
                    </a:lnTo>
                    <a:lnTo>
                      <a:pt x="592" y="669"/>
                    </a:lnTo>
                    <a:lnTo>
                      <a:pt x="603" y="663"/>
                    </a:lnTo>
                    <a:lnTo>
                      <a:pt x="613" y="657"/>
                    </a:lnTo>
                    <a:lnTo>
                      <a:pt x="623" y="649"/>
                    </a:lnTo>
                    <a:lnTo>
                      <a:pt x="632" y="641"/>
                    </a:lnTo>
                    <a:lnTo>
                      <a:pt x="640" y="633"/>
                    </a:lnTo>
                    <a:lnTo>
                      <a:pt x="647" y="624"/>
                    </a:lnTo>
                    <a:lnTo>
                      <a:pt x="648" y="621"/>
                    </a:lnTo>
                    <a:lnTo>
                      <a:pt x="649" y="619"/>
                    </a:lnTo>
                    <a:lnTo>
                      <a:pt x="650" y="618"/>
                    </a:lnTo>
                    <a:lnTo>
                      <a:pt x="618" y="603"/>
                    </a:lnTo>
                    <a:lnTo>
                      <a:pt x="613" y="611"/>
                    </a:lnTo>
                    <a:lnTo>
                      <a:pt x="613" y="611"/>
                    </a:lnTo>
                    <a:close/>
                    <a:moveTo>
                      <a:pt x="664" y="578"/>
                    </a:moveTo>
                    <a:lnTo>
                      <a:pt x="664" y="578"/>
                    </a:lnTo>
                    <a:lnTo>
                      <a:pt x="665" y="565"/>
                    </a:lnTo>
                    <a:lnTo>
                      <a:pt x="665" y="552"/>
                    </a:lnTo>
                    <a:lnTo>
                      <a:pt x="663" y="538"/>
                    </a:lnTo>
                    <a:lnTo>
                      <a:pt x="660" y="525"/>
                    </a:lnTo>
                    <a:lnTo>
                      <a:pt x="656" y="513"/>
                    </a:lnTo>
                    <a:lnTo>
                      <a:pt x="652" y="500"/>
                    </a:lnTo>
                    <a:lnTo>
                      <a:pt x="620" y="514"/>
                    </a:lnTo>
                    <a:lnTo>
                      <a:pt x="623" y="523"/>
                    </a:lnTo>
                    <a:lnTo>
                      <a:pt x="626" y="533"/>
                    </a:lnTo>
                    <a:lnTo>
                      <a:pt x="629" y="543"/>
                    </a:lnTo>
                    <a:lnTo>
                      <a:pt x="630" y="553"/>
                    </a:lnTo>
                    <a:lnTo>
                      <a:pt x="630" y="564"/>
                    </a:lnTo>
                    <a:lnTo>
                      <a:pt x="630" y="574"/>
                    </a:lnTo>
                    <a:lnTo>
                      <a:pt x="664" y="578"/>
                    </a:lnTo>
                    <a:lnTo>
                      <a:pt x="664" y="578"/>
                    </a:lnTo>
                    <a:close/>
                    <a:moveTo>
                      <a:pt x="223" y="597"/>
                    </a:moveTo>
                    <a:lnTo>
                      <a:pt x="223" y="597"/>
                    </a:lnTo>
                    <a:lnTo>
                      <a:pt x="213" y="602"/>
                    </a:lnTo>
                    <a:lnTo>
                      <a:pt x="203" y="608"/>
                    </a:lnTo>
                    <a:lnTo>
                      <a:pt x="194" y="615"/>
                    </a:lnTo>
                    <a:lnTo>
                      <a:pt x="186" y="623"/>
                    </a:lnTo>
                    <a:lnTo>
                      <a:pt x="178" y="632"/>
                    </a:lnTo>
                    <a:lnTo>
                      <a:pt x="205" y="654"/>
                    </a:lnTo>
                    <a:lnTo>
                      <a:pt x="210" y="648"/>
                    </a:lnTo>
                    <a:lnTo>
                      <a:pt x="217" y="642"/>
                    </a:lnTo>
                    <a:lnTo>
                      <a:pt x="223" y="637"/>
                    </a:lnTo>
                    <a:lnTo>
                      <a:pt x="230" y="633"/>
                    </a:lnTo>
                    <a:lnTo>
                      <a:pt x="238" y="630"/>
                    </a:lnTo>
                    <a:lnTo>
                      <a:pt x="245" y="627"/>
                    </a:lnTo>
                    <a:lnTo>
                      <a:pt x="253" y="624"/>
                    </a:lnTo>
                    <a:lnTo>
                      <a:pt x="245" y="590"/>
                    </a:lnTo>
                    <a:lnTo>
                      <a:pt x="234" y="593"/>
                    </a:lnTo>
                    <a:lnTo>
                      <a:pt x="223" y="597"/>
                    </a:lnTo>
                    <a:lnTo>
                      <a:pt x="223" y="597"/>
                    </a:lnTo>
                    <a:close/>
                    <a:moveTo>
                      <a:pt x="827" y="740"/>
                    </a:moveTo>
                    <a:lnTo>
                      <a:pt x="827" y="740"/>
                    </a:lnTo>
                    <a:lnTo>
                      <a:pt x="826" y="736"/>
                    </a:lnTo>
                    <a:lnTo>
                      <a:pt x="731" y="417"/>
                    </a:lnTo>
                    <a:lnTo>
                      <a:pt x="729" y="411"/>
                    </a:lnTo>
                    <a:lnTo>
                      <a:pt x="725" y="405"/>
                    </a:lnTo>
                    <a:lnTo>
                      <a:pt x="721" y="399"/>
                    </a:lnTo>
                    <a:lnTo>
                      <a:pt x="716" y="394"/>
                    </a:lnTo>
                    <a:lnTo>
                      <a:pt x="711" y="390"/>
                    </a:lnTo>
                    <a:lnTo>
                      <a:pt x="706" y="387"/>
                    </a:lnTo>
                    <a:lnTo>
                      <a:pt x="700" y="385"/>
                    </a:lnTo>
                    <a:lnTo>
                      <a:pt x="694" y="384"/>
                    </a:lnTo>
                    <a:lnTo>
                      <a:pt x="687" y="383"/>
                    </a:lnTo>
                    <a:lnTo>
                      <a:pt x="415" y="383"/>
                    </a:lnTo>
                    <a:lnTo>
                      <a:pt x="389" y="438"/>
                    </a:lnTo>
                    <a:lnTo>
                      <a:pt x="575" y="438"/>
                    </a:lnTo>
                    <a:lnTo>
                      <a:pt x="586" y="453"/>
                    </a:lnTo>
                    <a:lnTo>
                      <a:pt x="596" y="468"/>
                    </a:lnTo>
                    <a:lnTo>
                      <a:pt x="606" y="484"/>
                    </a:lnTo>
                    <a:lnTo>
                      <a:pt x="635" y="466"/>
                    </a:lnTo>
                    <a:lnTo>
                      <a:pt x="627" y="452"/>
                    </a:lnTo>
                    <a:lnTo>
                      <a:pt x="618" y="438"/>
                    </a:lnTo>
                    <a:lnTo>
                      <a:pt x="678" y="438"/>
                    </a:lnTo>
                    <a:lnTo>
                      <a:pt x="764" y="730"/>
                    </a:lnTo>
                    <a:lnTo>
                      <a:pt x="189" y="730"/>
                    </a:lnTo>
                    <a:lnTo>
                      <a:pt x="188" y="717"/>
                    </a:lnTo>
                    <a:lnTo>
                      <a:pt x="189" y="704"/>
                    </a:lnTo>
                    <a:lnTo>
                      <a:pt x="190" y="692"/>
                    </a:lnTo>
                    <a:lnTo>
                      <a:pt x="193" y="680"/>
                    </a:lnTo>
                    <a:lnTo>
                      <a:pt x="160" y="669"/>
                    </a:lnTo>
                    <a:lnTo>
                      <a:pt x="160" y="670"/>
                    </a:lnTo>
                    <a:lnTo>
                      <a:pt x="157" y="681"/>
                    </a:lnTo>
                    <a:lnTo>
                      <a:pt x="155" y="693"/>
                    </a:lnTo>
                    <a:lnTo>
                      <a:pt x="154" y="705"/>
                    </a:lnTo>
                    <a:lnTo>
                      <a:pt x="154" y="717"/>
                    </a:lnTo>
                    <a:lnTo>
                      <a:pt x="155" y="730"/>
                    </a:lnTo>
                    <a:lnTo>
                      <a:pt x="62" y="730"/>
                    </a:lnTo>
                    <a:lnTo>
                      <a:pt x="149" y="438"/>
                    </a:lnTo>
                    <a:lnTo>
                      <a:pt x="288" y="438"/>
                    </a:lnTo>
                    <a:lnTo>
                      <a:pt x="262" y="383"/>
                    </a:lnTo>
                    <a:lnTo>
                      <a:pt x="140" y="383"/>
                    </a:lnTo>
                    <a:lnTo>
                      <a:pt x="133" y="384"/>
                    </a:lnTo>
                    <a:lnTo>
                      <a:pt x="127" y="385"/>
                    </a:lnTo>
                    <a:lnTo>
                      <a:pt x="121" y="387"/>
                    </a:lnTo>
                    <a:lnTo>
                      <a:pt x="115" y="390"/>
                    </a:lnTo>
                    <a:lnTo>
                      <a:pt x="110" y="394"/>
                    </a:lnTo>
                    <a:lnTo>
                      <a:pt x="105" y="399"/>
                    </a:lnTo>
                    <a:lnTo>
                      <a:pt x="101" y="405"/>
                    </a:lnTo>
                    <a:lnTo>
                      <a:pt x="98" y="411"/>
                    </a:lnTo>
                    <a:lnTo>
                      <a:pt x="95" y="417"/>
                    </a:lnTo>
                    <a:lnTo>
                      <a:pt x="1" y="736"/>
                    </a:lnTo>
                    <a:lnTo>
                      <a:pt x="0" y="740"/>
                    </a:lnTo>
                    <a:lnTo>
                      <a:pt x="0" y="745"/>
                    </a:lnTo>
                    <a:lnTo>
                      <a:pt x="0" y="751"/>
                    </a:lnTo>
                    <a:lnTo>
                      <a:pt x="2" y="757"/>
                    </a:lnTo>
                    <a:lnTo>
                      <a:pt x="4" y="762"/>
                    </a:lnTo>
                    <a:lnTo>
                      <a:pt x="8" y="767"/>
                    </a:lnTo>
                    <a:lnTo>
                      <a:pt x="12" y="772"/>
                    </a:lnTo>
                    <a:lnTo>
                      <a:pt x="18" y="776"/>
                    </a:lnTo>
                    <a:lnTo>
                      <a:pt x="25" y="780"/>
                    </a:lnTo>
                    <a:lnTo>
                      <a:pt x="32" y="783"/>
                    </a:lnTo>
                    <a:lnTo>
                      <a:pt x="38" y="784"/>
                    </a:lnTo>
                    <a:lnTo>
                      <a:pt x="45" y="785"/>
                    </a:lnTo>
                    <a:lnTo>
                      <a:pt x="781" y="785"/>
                    </a:lnTo>
                    <a:lnTo>
                      <a:pt x="788" y="784"/>
                    </a:lnTo>
                    <a:lnTo>
                      <a:pt x="795" y="783"/>
                    </a:lnTo>
                    <a:lnTo>
                      <a:pt x="802" y="780"/>
                    </a:lnTo>
                    <a:lnTo>
                      <a:pt x="809" y="776"/>
                    </a:lnTo>
                    <a:lnTo>
                      <a:pt x="815" y="772"/>
                    </a:lnTo>
                    <a:lnTo>
                      <a:pt x="819" y="767"/>
                    </a:lnTo>
                    <a:lnTo>
                      <a:pt x="822" y="762"/>
                    </a:lnTo>
                    <a:lnTo>
                      <a:pt x="825" y="757"/>
                    </a:lnTo>
                    <a:lnTo>
                      <a:pt x="826" y="751"/>
                    </a:lnTo>
                    <a:lnTo>
                      <a:pt x="827" y="745"/>
                    </a:lnTo>
                    <a:lnTo>
                      <a:pt x="827" y="740"/>
                    </a:lnTo>
                    <a:lnTo>
                      <a:pt x="827" y="740"/>
                    </a:lnTo>
                    <a:close/>
                    <a:moveTo>
                      <a:pt x="252" y="157"/>
                    </a:moveTo>
                    <a:lnTo>
                      <a:pt x="252" y="157"/>
                    </a:lnTo>
                    <a:lnTo>
                      <a:pt x="253" y="169"/>
                    </a:lnTo>
                    <a:lnTo>
                      <a:pt x="256" y="180"/>
                    </a:lnTo>
                    <a:lnTo>
                      <a:pt x="259" y="190"/>
                    </a:lnTo>
                    <a:lnTo>
                      <a:pt x="264" y="200"/>
                    </a:lnTo>
                    <a:lnTo>
                      <a:pt x="270" y="209"/>
                    </a:lnTo>
                    <a:lnTo>
                      <a:pt x="277" y="218"/>
                    </a:lnTo>
                    <a:lnTo>
                      <a:pt x="286" y="225"/>
                    </a:lnTo>
                    <a:lnTo>
                      <a:pt x="295" y="231"/>
                    </a:lnTo>
                    <a:lnTo>
                      <a:pt x="305" y="236"/>
                    </a:lnTo>
                    <a:lnTo>
                      <a:pt x="315" y="240"/>
                    </a:lnTo>
                    <a:lnTo>
                      <a:pt x="326" y="242"/>
                    </a:lnTo>
                    <a:lnTo>
                      <a:pt x="338" y="243"/>
                    </a:lnTo>
                    <a:lnTo>
                      <a:pt x="350" y="242"/>
                    </a:lnTo>
                    <a:lnTo>
                      <a:pt x="361" y="240"/>
                    </a:lnTo>
                    <a:lnTo>
                      <a:pt x="371" y="236"/>
                    </a:lnTo>
                    <a:lnTo>
                      <a:pt x="381" y="231"/>
                    </a:lnTo>
                    <a:lnTo>
                      <a:pt x="391" y="225"/>
                    </a:lnTo>
                    <a:lnTo>
                      <a:pt x="399" y="218"/>
                    </a:lnTo>
                    <a:lnTo>
                      <a:pt x="406" y="209"/>
                    </a:lnTo>
                    <a:lnTo>
                      <a:pt x="412" y="200"/>
                    </a:lnTo>
                    <a:lnTo>
                      <a:pt x="417" y="190"/>
                    </a:lnTo>
                    <a:lnTo>
                      <a:pt x="421" y="180"/>
                    </a:lnTo>
                    <a:lnTo>
                      <a:pt x="423" y="169"/>
                    </a:lnTo>
                    <a:lnTo>
                      <a:pt x="424" y="157"/>
                    </a:lnTo>
                    <a:lnTo>
                      <a:pt x="423" y="145"/>
                    </a:lnTo>
                    <a:lnTo>
                      <a:pt x="421" y="134"/>
                    </a:lnTo>
                    <a:lnTo>
                      <a:pt x="417" y="124"/>
                    </a:lnTo>
                    <a:lnTo>
                      <a:pt x="412" y="114"/>
                    </a:lnTo>
                    <a:lnTo>
                      <a:pt x="406" y="105"/>
                    </a:lnTo>
                    <a:lnTo>
                      <a:pt x="399" y="96"/>
                    </a:lnTo>
                    <a:lnTo>
                      <a:pt x="391" y="89"/>
                    </a:lnTo>
                    <a:lnTo>
                      <a:pt x="381" y="83"/>
                    </a:lnTo>
                    <a:lnTo>
                      <a:pt x="371" y="78"/>
                    </a:lnTo>
                    <a:lnTo>
                      <a:pt x="361" y="74"/>
                    </a:lnTo>
                    <a:lnTo>
                      <a:pt x="350" y="72"/>
                    </a:lnTo>
                    <a:lnTo>
                      <a:pt x="338" y="71"/>
                    </a:lnTo>
                    <a:lnTo>
                      <a:pt x="326" y="72"/>
                    </a:lnTo>
                    <a:lnTo>
                      <a:pt x="315" y="74"/>
                    </a:lnTo>
                    <a:lnTo>
                      <a:pt x="305" y="78"/>
                    </a:lnTo>
                    <a:lnTo>
                      <a:pt x="295" y="83"/>
                    </a:lnTo>
                    <a:lnTo>
                      <a:pt x="286" y="89"/>
                    </a:lnTo>
                    <a:lnTo>
                      <a:pt x="277" y="96"/>
                    </a:lnTo>
                    <a:lnTo>
                      <a:pt x="270" y="105"/>
                    </a:lnTo>
                    <a:lnTo>
                      <a:pt x="264" y="114"/>
                    </a:lnTo>
                    <a:lnTo>
                      <a:pt x="259" y="124"/>
                    </a:lnTo>
                    <a:lnTo>
                      <a:pt x="256" y="134"/>
                    </a:lnTo>
                    <a:lnTo>
                      <a:pt x="253" y="145"/>
                    </a:lnTo>
                    <a:lnTo>
                      <a:pt x="252" y="157"/>
                    </a:lnTo>
                    <a:lnTo>
                      <a:pt x="252" y="157"/>
                    </a:lnTo>
                    <a:close/>
                    <a:moveTo>
                      <a:pt x="181" y="170"/>
                    </a:moveTo>
                    <a:lnTo>
                      <a:pt x="181" y="170"/>
                    </a:lnTo>
                    <a:lnTo>
                      <a:pt x="180" y="157"/>
                    </a:lnTo>
                    <a:lnTo>
                      <a:pt x="181" y="147"/>
                    </a:lnTo>
                    <a:lnTo>
                      <a:pt x="183" y="136"/>
                    </a:lnTo>
                    <a:lnTo>
                      <a:pt x="185" y="125"/>
                    </a:lnTo>
                    <a:lnTo>
                      <a:pt x="190" y="113"/>
                    </a:lnTo>
                    <a:lnTo>
                      <a:pt x="194" y="102"/>
                    </a:lnTo>
                    <a:lnTo>
                      <a:pt x="200" y="91"/>
                    </a:lnTo>
                    <a:lnTo>
                      <a:pt x="207" y="80"/>
                    </a:lnTo>
                    <a:lnTo>
                      <a:pt x="214" y="69"/>
                    </a:lnTo>
                    <a:lnTo>
                      <a:pt x="222" y="59"/>
                    </a:lnTo>
                    <a:lnTo>
                      <a:pt x="231" y="49"/>
                    </a:lnTo>
                    <a:lnTo>
                      <a:pt x="241" y="40"/>
                    </a:lnTo>
                    <a:lnTo>
                      <a:pt x="251" y="31"/>
                    </a:lnTo>
                    <a:lnTo>
                      <a:pt x="262" y="23"/>
                    </a:lnTo>
                    <a:lnTo>
                      <a:pt x="274" y="16"/>
                    </a:lnTo>
                    <a:lnTo>
                      <a:pt x="286" y="11"/>
                    </a:lnTo>
                    <a:lnTo>
                      <a:pt x="298" y="7"/>
                    </a:lnTo>
                    <a:lnTo>
                      <a:pt x="311" y="3"/>
                    </a:lnTo>
                    <a:lnTo>
                      <a:pt x="325" y="1"/>
                    </a:lnTo>
                    <a:lnTo>
                      <a:pt x="338" y="0"/>
                    </a:lnTo>
                    <a:lnTo>
                      <a:pt x="352" y="1"/>
                    </a:lnTo>
                    <a:lnTo>
                      <a:pt x="365" y="3"/>
                    </a:lnTo>
                    <a:lnTo>
                      <a:pt x="378" y="7"/>
                    </a:lnTo>
                    <a:lnTo>
                      <a:pt x="390" y="11"/>
                    </a:lnTo>
                    <a:lnTo>
                      <a:pt x="402" y="16"/>
                    </a:lnTo>
                    <a:lnTo>
                      <a:pt x="414" y="23"/>
                    </a:lnTo>
                    <a:lnTo>
                      <a:pt x="425" y="31"/>
                    </a:lnTo>
                    <a:lnTo>
                      <a:pt x="435" y="40"/>
                    </a:lnTo>
                    <a:lnTo>
                      <a:pt x="445" y="49"/>
                    </a:lnTo>
                    <a:lnTo>
                      <a:pt x="454" y="59"/>
                    </a:lnTo>
                    <a:lnTo>
                      <a:pt x="462" y="69"/>
                    </a:lnTo>
                    <a:lnTo>
                      <a:pt x="470" y="80"/>
                    </a:lnTo>
                    <a:lnTo>
                      <a:pt x="476" y="91"/>
                    </a:lnTo>
                    <a:lnTo>
                      <a:pt x="482" y="102"/>
                    </a:lnTo>
                    <a:lnTo>
                      <a:pt x="487" y="113"/>
                    </a:lnTo>
                    <a:lnTo>
                      <a:pt x="491" y="125"/>
                    </a:lnTo>
                    <a:lnTo>
                      <a:pt x="493" y="136"/>
                    </a:lnTo>
                    <a:lnTo>
                      <a:pt x="495" y="147"/>
                    </a:lnTo>
                    <a:lnTo>
                      <a:pt x="496" y="157"/>
                    </a:lnTo>
                    <a:lnTo>
                      <a:pt x="495" y="170"/>
                    </a:lnTo>
                    <a:lnTo>
                      <a:pt x="495" y="182"/>
                    </a:lnTo>
                    <a:lnTo>
                      <a:pt x="493" y="192"/>
                    </a:lnTo>
                    <a:lnTo>
                      <a:pt x="492" y="202"/>
                    </a:lnTo>
                    <a:lnTo>
                      <a:pt x="489" y="210"/>
                    </a:lnTo>
                    <a:lnTo>
                      <a:pt x="487" y="218"/>
                    </a:lnTo>
                    <a:lnTo>
                      <a:pt x="484" y="225"/>
                    </a:lnTo>
                    <a:lnTo>
                      <a:pt x="480" y="232"/>
                    </a:lnTo>
                    <a:lnTo>
                      <a:pt x="477" y="238"/>
                    </a:lnTo>
                    <a:lnTo>
                      <a:pt x="472" y="244"/>
                    </a:lnTo>
                    <a:lnTo>
                      <a:pt x="467" y="249"/>
                    </a:lnTo>
                    <a:lnTo>
                      <a:pt x="462" y="255"/>
                    </a:lnTo>
                    <a:lnTo>
                      <a:pt x="457" y="261"/>
                    </a:lnTo>
                    <a:lnTo>
                      <a:pt x="451" y="267"/>
                    </a:lnTo>
                    <a:lnTo>
                      <a:pt x="435" y="288"/>
                    </a:lnTo>
                    <a:lnTo>
                      <a:pt x="421" y="309"/>
                    </a:lnTo>
                    <a:lnTo>
                      <a:pt x="408" y="331"/>
                    </a:lnTo>
                    <a:lnTo>
                      <a:pt x="396" y="352"/>
                    </a:lnTo>
                    <a:lnTo>
                      <a:pt x="386" y="373"/>
                    </a:lnTo>
                    <a:lnTo>
                      <a:pt x="376" y="395"/>
                    </a:lnTo>
                    <a:lnTo>
                      <a:pt x="368" y="417"/>
                    </a:lnTo>
                    <a:lnTo>
                      <a:pt x="360" y="439"/>
                    </a:lnTo>
                    <a:lnTo>
                      <a:pt x="352" y="460"/>
                    </a:lnTo>
                    <a:lnTo>
                      <a:pt x="345" y="482"/>
                    </a:lnTo>
                    <a:lnTo>
                      <a:pt x="338" y="504"/>
                    </a:lnTo>
                    <a:lnTo>
                      <a:pt x="333" y="491"/>
                    </a:lnTo>
                    <a:lnTo>
                      <a:pt x="328" y="477"/>
                    </a:lnTo>
                    <a:lnTo>
                      <a:pt x="323" y="462"/>
                    </a:lnTo>
                    <a:lnTo>
                      <a:pt x="318" y="447"/>
                    </a:lnTo>
                    <a:lnTo>
                      <a:pt x="312" y="431"/>
                    </a:lnTo>
                    <a:lnTo>
                      <a:pt x="307" y="415"/>
                    </a:lnTo>
                    <a:lnTo>
                      <a:pt x="301" y="398"/>
                    </a:lnTo>
                    <a:lnTo>
                      <a:pt x="294" y="382"/>
                    </a:lnTo>
                    <a:lnTo>
                      <a:pt x="287" y="365"/>
                    </a:lnTo>
                    <a:lnTo>
                      <a:pt x="279" y="348"/>
                    </a:lnTo>
                    <a:lnTo>
                      <a:pt x="270" y="331"/>
                    </a:lnTo>
                    <a:lnTo>
                      <a:pt x="261" y="314"/>
                    </a:lnTo>
                    <a:lnTo>
                      <a:pt x="250" y="298"/>
                    </a:lnTo>
                    <a:lnTo>
                      <a:pt x="238" y="282"/>
                    </a:lnTo>
                    <a:lnTo>
                      <a:pt x="225" y="267"/>
                    </a:lnTo>
                    <a:lnTo>
                      <a:pt x="219" y="261"/>
                    </a:lnTo>
                    <a:lnTo>
                      <a:pt x="214" y="255"/>
                    </a:lnTo>
                    <a:lnTo>
                      <a:pt x="209" y="249"/>
                    </a:lnTo>
                    <a:lnTo>
                      <a:pt x="204" y="244"/>
                    </a:lnTo>
                    <a:lnTo>
                      <a:pt x="200" y="238"/>
                    </a:lnTo>
                    <a:lnTo>
                      <a:pt x="196" y="232"/>
                    </a:lnTo>
                    <a:lnTo>
                      <a:pt x="192" y="225"/>
                    </a:lnTo>
                    <a:lnTo>
                      <a:pt x="189" y="218"/>
                    </a:lnTo>
                    <a:lnTo>
                      <a:pt x="187" y="210"/>
                    </a:lnTo>
                    <a:lnTo>
                      <a:pt x="185" y="202"/>
                    </a:lnTo>
                    <a:lnTo>
                      <a:pt x="183" y="192"/>
                    </a:lnTo>
                    <a:lnTo>
                      <a:pt x="182" y="182"/>
                    </a:lnTo>
                    <a:lnTo>
                      <a:pt x="181" y="170"/>
                    </a:lnTo>
                    <a:lnTo>
                      <a:pt x="181" y="170"/>
                    </a:lnTo>
                    <a:close/>
                    <a:moveTo>
                      <a:pt x="334" y="585"/>
                    </a:moveTo>
                    <a:lnTo>
                      <a:pt x="334" y="585"/>
                    </a:lnTo>
                    <a:lnTo>
                      <a:pt x="318" y="584"/>
                    </a:lnTo>
                    <a:lnTo>
                      <a:pt x="302" y="583"/>
                    </a:lnTo>
                    <a:lnTo>
                      <a:pt x="286" y="584"/>
                    </a:lnTo>
                    <a:lnTo>
                      <a:pt x="282" y="584"/>
                    </a:lnTo>
                    <a:lnTo>
                      <a:pt x="284" y="619"/>
                    </a:lnTo>
                    <a:lnTo>
                      <a:pt x="286" y="619"/>
                    </a:lnTo>
                    <a:lnTo>
                      <a:pt x="301" y="619"/>
                    </a:lnTo>
                    <a:lnTo>
                      <a:pt x="316" y="619"/>
                    </a:lnTo>
                    <a:lnTo>
                      <a:pt x="331" y="620"/>
                    </a:lnTo>
                    <a:lnTo>
                      <a:pt x="346" y="622"/>
                    </a:lnTo>
                    <a:lnTo>
                      <a:pt x="349" y="622"/>
                    </a:lnTo>
                    <a:lnTo>
                      <a:pt x="349" y="622"/>
                    </a:lnTo>
                    <a:lnTo>
                      <a:pt x="354" y="587"/>
                    </a:lnTo>
                    <a:lnTo>
                      <a:pt x="353" y="587"/>
                    </a:lnTo>
                    <a:lnTo>
                      <a:pt x="350" y="587"/>
                    </a:lnTo>
                    <a:lnTo>
                      <a:pt x="334" y="585"/>
                    </a:lnTo>
                    <a:lnTo>
                      <a:pt x="334" y="585"/>
                    </a:lnTo>
                    <a:close/>
                    <a:moveTo>
                      <a:pt x="382" y="628"/>
                    </a:moveTo>
                    <a:lnTo>
                      <a:pt x="382" y="628"/>
                    </a:lnTo>
                    <a:lnTo>
                      <a:pt x="389" y="593"/>
                    </a:lnTo>
                    <a:lnTo>
                      <a:pt x="389" y="593"/>
                    </a:lnTo>
                    <a:lnTo>
                      <a:pt x="392" y="594"/>
                    </a:lnTo>
                    <a:lnTo>
                      <a:pt x="414" y="599"/>
                    </a:lnTo>
                    <a:lnTo>
                      <a:pt x="435" y="604"/>
                    </a:lnTo>
                    <a:lnTo>
                      <a:pt x="456" y="611"/>
                    </a:lnTo>
                    <a:lnTo>
                      <a:pt x="457" y="611"/>
                    </a:lnTo>
                    <a:lnTo>
                      <a:pt x="457" y="612"/>
                    </a:lnTo>
                    <a:lnTo>
                      <a:pt x="446" y="645"/>
                    </a:lnTo>
                    <a:lnTo>
                      <a:pt x="445" y="645"/>
                    </a:lnTo>
                    <a:lnTo>
                      <a:pt x="444" y="644"/>
                    </a:lnTo>
                    <a:lnTo>
                      <a:pt x="443" y="644"/>
                    </a:lnTo>
                    <a:lnTo>
                      <a:pt x="442" y="644"/>
                    </a:lnTo>
                    <a:lnTo>
                      <a:pt x="441" y="643"/>
                    </a:lnTo>
                    <a:lnTo>
                      <a:pt x="423" y="638"/>
                    </a:lnTo>
                    <a:lnTo>
                      <a:pt x="405" y="633"/>
                    </a:lnTo>
                    <a:lnTo>
                      <a:pt x="385" y="629"/>
                    </a:lnTo>
                    <a:lnTo>
                      <a:pt x="383" y="628"/>
                    </a:lnTo>
                    <a:lnTo>
                      <a:pt x="382" y="628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/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96687" cy="677491"/>
          </a:xfrm>
        </p:spPr>
        <p:txBody>
          <a:bodyPr/>
          <a:lstStyle/>
          <a:p>
            <a:r>
              <a:rPr lang="ru-RU" dirty="0"/>
              <a:t>Однофазные трековые светильники </a:t>
            </a:r>
            <a:r>
              <a:rPr lang="en-US" dirty="0"/>
              <a:t>ECO</a:t>
            </a:r>
            <a:br>
              <a:rPr lang="pl-PL" dirty="0"/>
            </a:br>
            <a:r>
              <a:rPr lang="ru-RU" dirty="0"/>
              <a:t>Обзор продукта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3591754" y="1860079"/>
            <a:ext cx="2640558" cy="2759145"/>
            <a:chOff x="503114" y="1860079"/>
            <a:chExt cx="2640558" cy="2759145"/>
          </a:xfrm>
        </p:grpSpPr>
        <p:sp>
          <p:nvSpPr>
            <p:cNvPr id="3" name="Textfeld 2"/>
            <p:cNvSpPr txBox="1"/>
            <p:nvPr/>
          </p:nvSpPr>
          <p:spPr>
            <a:xfrm>
              <a:off x="503114" y="2295511"/>
              <a:ext cx="2640558" cy="2323713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dirty="0"/>
                <a:t>Трековые светильники под лампу</a:t>
              </a:r>
              <a:r>
                <a:rPr lang="en-US" sz="1200" dirty="0"/>
                <a:t> GU10, E27</a:t>
              </a:r>
              <a:r>
                <a:rPr lang="ru-RU" sz="1200" dirty="0"/>
                <a:t> и</a:t>
              </a:r>
              <a:r>
                <a:rPr lang="en-US" sz="1200" dirty="0"/>
                <a:t> LED</a:t>
              </a:r>
              <a:r>
                <a:rPr lang="ru-RU" sz="1200" dirty="0"/>
                <a:t> -светильники</a:t>
              </a:r>
              <a:endParaRPr lang="en-US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/>
                <a:t>LED</a:t>
              </a:r>
              <a:r>
                <a:rPr lang="ru-RU" sz="1200" dirty="0"/>
                <a:t>-светильники: 5-30 Вт</a:t>
              </a:r>
              <a:r>
                <a:rPr lang="en-US" sz="1200" dirty="0"/>
                <a:t> </a:t>
              </a:r>
              <a:r>
                <a:rPr lang="ru-RU" sz="1200" dirty="0"/>
                <a:t>Ч</a:t>
              </a:r>
              <a:r>
                <a:rPr lang="en-US" sz="1200" dirty="0"/>
                <a:t>/</a:t>
              </a:r>
              <a:r>
                <a:rPr lang="ru-RU" sz="1200" dirty="0"/>
                <a:t>Б</a:t>
              </a:r>
              <a:br>
                <a:rPr lang="ru-RU" sz="1200" dirty="0"/>
              </a:br>
              <a:r>
                <a:rPr lang="en-US" sz="1200" dirty="0"/>
                <a:t> 16 </a:t>
              </a:r>
              <a:r>
                <a:rPr lang="ru-RU" sz="1200" dirty="0"/>
                <a:t>позиций</a:t>
              </a:r>
              <a:endParaRPr lang="en-US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/>
                <a:t>GU10 &amp; E27 </a:t>
              </a:r>
              <a:r>
                <a:rPr lang="ru-RU" sz="1200" dirty="0"/>
                <a:t>модели, также подвесные Ч</a:t>
              </a:r>
              <a:r>
                <a:rPr lang="en-US" sz="1200" dirty="0"/>
                <a:t>/</a:t>
              </a:r>
              <a:r>
                <a:rPr lang="ru-RU" sz="1200" dirty="0"/>
                <a:t>Б -</a:t>
              </a:r>
              <a:r>
                <a:rPr lang="en-US" sz="1200" dirty="0"/>
                <a:t> </a:t>
              </a:r>
              <a:r>
                <a:rPr lang="ru-RU" sz="1200" dirty="0"/>
                <a:t>7</a:t>
              </a:r>
              <a:r>
                <a:rPr lang="en-US" sz="1200" dirty="0"/>
                <a:t> </a:t>
              </a:r>
              <a:r>
                <a:rPr lang="ru-RU" sz="1200" dirty="0"/>
                <a:t>позиций</a:t>
              </a:r>
              <a:endParaRPr lang="en-US" sz="1200" dirty="0"/>
            </a:p>
            <a:p>
              <a:pPr>
                <a:spcAft>
                  <a:spcPts val="600"/>
                </a:spcAft>
              </a:pPr>
              <a:endParaRPr lang="en-US" sz="1200" dirty="0"/>
            </a:p>
            <a:p>
              <a:pPr>
                <a:spcAft>
                  <a:spcPts val="600"/>
                </a:spcAft>
              </a:pPr>
              <a:endParaRPr lang="en-US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200" dirty="0"/>
            </a:p>
          </p:txBody>
        </p:sp>
        <p:grpSp>
          <p:nvGrpSpPr>
            <p:cNvPr id="12" name="Gruppieren 11"/>
            <p:cNvGrpSpPr/>
            <p:nvPr/>
          </p:nvGrpSpPr>
          <p:grpSpPr>
            <a:xfrm>
              <a:off x="503114" y="1860079"/>
              <a:ext cx="2640558" cy="360000"/>
              <a:chOff x="503114" y="1860079"/>
              <a:chExt cx="2640558" cy="360000"/>
            </a:xfrm>
          </p:grpSpPr>
          <p:grpSp>
            <p:nvGrpSpPr>
              <p:cNvPr id="7" name="Gruppieren 6"/>
              <p:cNvGrpSpPr/>
              <p:nvPr/>
            </p:nvGrpSpPr>
            <p:grpSpPr>
              <a:xfrm>
                <a:off x="503114" y="1860079"/>
                <a:ext cx="2640558" cy="360000"/>
                <a:chOff x="426036" y="1860079"/>
                <a:chExt cx="2640558" cy="360000"/>
              </a:xfrm>
            </p:grpSpPr>
            <p:sp>
              <p:nvSpPr>
                <p:cNvPr id="8" name="AutoShape 3"/>
                <p:cNvSpPr>
                  <a:spLocks noChangeArrowheads="1"/>
                </p:cNvSpPr>
                <p:nvPr/>
              </p:nvSpPr>
              <p:spPr bwMode="auto">
                <a:xfrm>
                  <a:off x="504136" y="1886363"/>
                  <a:ext cx="2562458" cy="30743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6600"/>
                </a:solidFill>
                <a:ln w="0" algn="ctr">
                  <a:noFill/>
                  <a:round/>
                </a:ln>
                <a:effectLst/>
              </p:spPr>
              <p:txBody>
                <a:bodyPr lIns="360000" tIns="0" rIns="36000" bIns="0" anchor="ctr"/>
                <a:lstStyle/>
                <a:p>
                  <a:pPr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ru-RU" altLang="zh-CN" b="1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Описание</a:t>
                  </a:r>
                  <a:endPara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" name="AutoShape 3"/>
                <p:cNvSpPr>
                  <a:spLocks noChangeArrowheads="1"/>
                </p:cNvSpPr>
                <p:nvPr/>
              </p:nvSpPr>
              <p:spPr bwMode="auto">
                <a:xfrm>
                  <a:off x="426036" y="1860079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0" algn="ctr">
                  <a:solidFill>
                    <a:schemeClr val="accent1"/>
                  </a:solidFill>
                  <a:round/>
                </a:ln>
                <a:effectLst/>
              </p:spPr>
              <p:txBody>
                <a:bodyPr wrap="none" lIns="0" tIns="36000" rIns="0" bIns="36000" anchor="ctr">
                  <a:noAutofit/>
                </a:bodyPr>
                <a:lstStyle/>
                <a:p>
                  <a:pPr algn="ctr"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en-US" altLang="zh-CN" sz="1600" b="1" dirty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 1.</a:t>
                  </a:r>
                  <a:endPara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43" name="Freeform 278"/>
              <p:cNvSpPr>
                <a:spLocks noChangeAspect="1" noEditPoints="1"/>
              </p:cNvSpPr>
              <p:nvPr/>
            </p:nvSpPr>
            <p:spPr bwMode="auto">
              <a:xfrm>
                <a:off x="2893113" y="1905079"/>
                <a:ext cx="233307" cy="270000"/>
              </a:xfrm>
              <a:custGeom>
                <a:avLst/>
                <a:gdLst>
                  <a:gd name="T0" fmla="*/ 2997 w 5074"/>
                  <a:gd name="T1" fmla="*/ 4626 h 5872"/>
                  <a:gd name="T2" fmla="*/ 3300 w 5074"/>
                  <a:gd name="T3" fmla="*/ 3685 h 5872"/>
                  <a:gd name="T4" fmla="*/ 3300 w 5074"/>
                  <a:gd name="T5" fmla="*/ 3685 h 5872"/>
                  <a:gd name="T6" fmla="*/ 3002 w 5074"/>
                  <a:gd name="T7" fmla="*/ 3673 h 5872"/>
                  <a:gd name="T8" fmla="*/ 915 w 5074"/>
                  <a:gd name="T9" fmla="*/ 2422 h 5872"/>
                  <a:gd name="T10" fmla="*/ 915 w 5074"/>
                  <a:gd name="T11" fmla="*/ 2719 h 5872"/>
                  <a:gd name="T12" fmla="*/ 4766 w 5074"/>
                  <a:gd name="T13" fmla="*/ 2803 h 5872"/>
                  <a:gd name="T14" fmla="*/ 4085 w 5074"/>
                  <a:gd name="T15" fmla="*/ 2384 h 5872"/>
                  <a:gd name="T16" fmla="*/ 3638 w 5074"/>
                  <a:gd name="T17" fmla="*/ 2874 h 5872"/>
                  <a:gd name="T18" fmla="*/ 4677 w 5074"/>
                  <a:gd name="T19" fmla="*/ 1810 h 5872"/>
                  <a:gd name="T20" fmla="*/ 4834 w 5074"/>
                  <a:gd name="T21" fmla="*/ 1861 h 5872"/>
                  <a:gd name="T22" fmla="*/ 4992 w 5074"/>
                  <a:gd name="T23" fmla="*/ 1979 h 5872"/>
                  <a:gd name="T24" fmla="*/ 5065 w 5074"/>
                  <a:gd name="T25" fmla="*/ 2123 h 5872"/>
                  <a:gd name="T26" fmla="*/ 5065 w 5074"/>
                  <a:gd name="T27" fmla="*/ 2283 h 5872"/>
                  <a:gd name="T28" fmla="*/ 4852 w 5074"/>
                  <a:gd name="T29" fmla="*/ 2666 h 5872"/>
                  <a:gd name="T30" fmla="*/ 4337 w 5074"/>
                  <a:gd name="T31" fmla="*/ 2349 h 5872"/>
                  <a:gd name="T32" fmla="*/ 4355 w 5074"/>
                  <a:gd name="T33" fmla="*/ 1975 h 5872"/>
                  <a:gd name="T34" fmla="*/ 4471 w 5074"/>
                  <a:gd name="T35" fmla="*/ 1859 h 5872"/>
                  <a:gd name="T36" fmla="*/ 4624 w 5074"/>
                  <a:gd name="T37" fmla="*/ 1810 h 5872"/>
                  <a:gd name="T38" fmla="*/ 3011 w 5074"/>
                  <a:gd name="T39" fmla="*/ 1093 h 5872"/>
                  <a:gd name="T40" fmla="*/ 3054 w 5074"/>
                  <a:gd name="T41" fmla="*/ 1288 h 5872"/>
                  <a:gd name="T42" fmla="*/ 3172 w 5074"/>
                  <a:gd name="T43" fmla="*/ 1443 h 5872"/>
                  <a:gd name="T44" fmla="*/ 3342 w 5074"/>
                  <a:gd name="T45" fmla="*/ 1537 h 5872"/>
                  <a:gd name="T46" fmla="*/ 3860 w 5074"/>
                  <a:gd name="T47" fmla="*/ 1557 h 5872"/>
                  <a:gd name="T48" fmla="*/ 881 w 5074"/>
                  <a:gd name="T49" fmla="*/ 0 h 5872"/>
                  <a:gd name="T50" fmla="*/ 4476 w 5074"/>
                  <a:gd name="T51" fmla="*/ 1673 h 5872"/>
                  <a:gd name="T52" fmla="*/ 4300 w 5074"/>
                  <a:gd name="T53" fmla="*/ 1779 h 5872"/>
                  <a:gd name="T54" fmla="*/ 4154 w 5074"/>
                  <a:gd name="T55" fmla="*/ 1982 h 5872"/>
                  <a:gd name="T56" fmla="*/ 3382 w 5074"/>
                  <a:gd name="T57" fmla="*/ 1968 h 5872"/>
                  <a:gd name="T58" fmla="*/ 3113 w 5074"/>
                  <a:gd name="T59" fmla="*/ 1893 h 5872"/>
                  <a:gd name="T60" fmla="*/ 2887 w 5074"/>
                  <a:gd name="T61" fmla="*/ 1746 h 5872"/>
                  <a:gd name="T62" fmla="*/ 2716 w 5074"/>
                  <a:gd name="T63" fmla="*/ 1536 h 5872"/>
                  <a:gd name="T64" fmla="*/ 2616 w 5074"/>
                  <a:gd name="T65" fmla="*/ 1281 h 5872"/>
                  <a:gd name="T66" fmla="*/ 2597 w 5074"/>
                  <a:gd name="T67" fmla="*/ 416 h 5872"/>
                  <a:gd name="T68" fmla="*/ 748 w 5074"/>
                  <a:gd name="T69" fmla="*/ 436 h 5872"/>
                  <a:gd name="T70" fmla="*/ 577 w 5074"/>
                  <a:gd name="T71" fmla="*/ 530 h 5872"/>
                  <a:gd name="T72" fmla="*/ 459 w 5074"/>
                  <a:gd name="T73" fmla="*/ 685 h 5872"/>
                  <a:gd name="T74" fmla="*/ 417 w 5074"/>
                  <a:gd name="T75" fmla="*/ 881 h 5872"/>
                  <a:gd name="T76" fmla="*/ 436 w 5074"/>
                  <a:gd name="T77" fmla="*/ 5125 h 5872"/>
                  <a:gd name="T78" fmla="*/ 531 w 5074"/>
                  <a:gd name="T79" fmla="*/ 5297 h 5872"/>
                  <a:gd name="T80" fmla="*/ 685 w 5074"/>
                  <a:gd name="T81" fmla="*/ 5413 h 5872"/>
                  <a:gd name="T82" fmla="*/ 881 w 5074"/>
                  <a:gd name="T83" fmla="*/ 5457 h 5872"/>
                  <a:gd name="T84" fmla="*/ 3821 w 5074"/>
                  <a:gd name="T85" fmla="*/ 5438 h 5872"/>
                  <a:gd name="T86" fmla="*/ 3992 w 5074"/>
                  <a:gd name="T87" fmla="*/ 5342 h 5872"/>
                  <a:gd name="T88" fmla="*/ 4109 w 5074"/>
                  <a:gd name="T89" fmla="*/ 5187 h 5872"/>
                  <a:gd name="T90" fmla="*/ 4154 w 5074"/>
                  <a:gd name="T91" fmla="*/ 4991 h 5872"/>
                  <a:gd name="T92" fmla="*/ 4569 w 5074"/>
                  <a:gd name="T93" fmla="*/ 3468 h 5872"/>
                  <a:gd name="T94" fmla="*/ 4547 w 5074"/>
                  <a:gd name="T95" fmla="*/ 5180 h 5872"/>
                  <a:gd name="T96" fmla="*/ 4448 w 5074"/>
                  <a:gd name="T97" fmla="*/ 5436 h 5872"/>
                  <a:gd name="T98" fmla="*/ 4277 w 5074"/>
                  <a:gd name="T99" fmla="*/ 5644 h 5872"/>
                  <a:gd name="T100" fmla="*/ 4051 w 5074"/>
                  <a:gd name="T101" fmla="*/ 5794 h 5872"/>
                  <a:gd name="T102" fmla="*/ 3784 w 5074"/>
                  <a:gd name="T103" fmla="*/ 5867 h 5872"/>
                  <a:gd name="T104" fmla="*/ 785 w 5074"/>
                  <a:gd name="T105" fmla="*/ 5867 h 5872"/>
                  <a:gd name="T106" fmla="*/ 518 w 5074"/>
                  <a:gd name="T107" fmla="*/ 5794 h 5872"/>
                  <a:gd name="T108" fmla="*/ 292 w 5074"/>
                  <a:gd name="T109" fmla="*/ 5644 h 5872"/>
                  <a:gd name="T110" fmla="*/ 121 w 5074"/>
                  <a:gd name="T111" fmla="*/ 5436 h 5872"/>
                  <a:gd name="T112" fmla="*/ 22 w 5074"/>
                  <a:gd name="T113" fmla="*/ 5180 h 5872"/>
                  <a:gd name="T114" fmla="*/ 0 w 5074"/>
                  <a:gd name="T115" fmla="*/ 881 h 5872"/>
                  <a:gd name="T116" fmla="*/ 46 w 5074"/>
                  <a:gd name="T117" fmla="*/ 603 h 5872"/>
                  <a:gd name="T118" fmla="*/ 171 w 5074"/>
                  <a:gd name="T119" fmla="*/ 361 h 5872"/>
                  <a:gd name="T120" fmla="*/ 361 w 5074"/>
                  <a:gd name="T121" fmla="*/ 171 h 5872"/>
                  <a:gd name="T122" fmla="*/ 604 w 5074"/>
                  <a:gd name="T123" fmla="*/ 46 h 5872"/>
                  <a:gd name="T124" fmla="*/ 881 w 5074"/>
                  <a:gd name="T125" fmla="*/ 0 h 5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74" h="5872">
                    <a:moveTo>
                      <a:pt x="2088" y="4329"/>
                    </a:moveTo>
                    <a:lnTo>
                      <a:pt x="2999" y="4329"/>
                    </a:lnTo>
                    <a:lnTo>
                      <a:pt x="2997" y="4626"/>
                    </a:lnTo>
                    <a:lnTo>
                      <a:pt x="2088" y="4626"/>
                    </a:lnTo>
                    <a:lnTo>
                      <a:pt x="2088" y="4329"/>
                    </a:lnTo>
                    <a:close/>
                    <a:moveTo>
                      <a:pt x="3300" y="3685"/>
                    </a:moveTo>
                    <a:lnTo>
                      <a:pt x="3980" y="4103"/>
                    </a:lnTo>
                    <a:lnTo>
                      <a:pt x="3200" y="4596"/>
                    </a:lnTo>
                    <a:lnTo>
                      <a:pt x="3300" y="3685"/>
                    </a:lnTo>
                    <a:close/>
                    <a:moveTo>
                      <a:pt x="915" y="3376"/>
                    </a:moveTo>
                    <a:lnTo>
                      <a:pt x="3004" y="3376"/>
                    </a:lnTo>
                    <a:lnTo>
                      <a:pt x="3002" y="3673"/>
                    </a:lnTo>
                    <a:lnTo>
                      <a:pt x="915" y="3673"/>
                    </a:lnTo>
                    <a:lnTo>
                      <a:pt x="915" y="3376"/>
                    </a:lnTo>
                    <a:close/>
                    <a:moveTo>
                      <a:pt x="915" y="2422"/>
                    </a:moveTo>
                    <a:lnTo>
                      <a:pt x="3259" y="2422"/>
                    </a:lnTo>
                    <a:lnTo>
                      <a:pt x="3259" y="2719"/>
                    </a:lnTo>
                    <a:lnTo>
                      <a:pt x="915" y="2719"/>
                    </a:lnTo>
                    <a:lnTo>
                      <a:pt x="915" y="2422"/>
                    </a:lnTo>
                    <a:close/>
                    <a:moveTo>
                      <a:pt x="4085" y="2384"/>
                    </a:moveTo>
                    <a:lnTo>
                      <a:pt x="4766" y="2803"/>
                    </a:lnTo>
                    <a:lnTo>
                      <a:pt x="4076" y="3961"/>
                    </a:lnTo>
                    <a:lnTo>
                      <a:pt x="3394" y="3539"/>
                    </a:lnTo>
                    <a:lnTo>
                      <a:pt x="4085" y="2384"/>
                    </a:lnTo>
                    <a:close/>
                    <a:moveTo>
                      <a:pt x="3819" y="2221"/>
                    </a:moveTo>
                    <a:lnTo>
                      <a:pt x="3971" y="2315"/>
                    </a:lnTo>
                    <a:lnTo>
                      <a:pt x="3638" y="2874"/>
                    </a:lnTo>
                    <a:lnTo>
                      <a:pt x="3488" y="2778"/>
                    </a:lnTo>
                    <a:lnTo>
                      <a:pt x="3819" y="2221"/>
                    </a:lnTo>
                    <a:close/>
                    <a:moveTo>
                      <a:pt x="4677" y="1810"/>
                    </a:moveTo>
                    <a:lnTo>
                      <a:pt x="4731" y="1819"/>
                    </a:lnTo>
                    <a:lnTo>
                      <a:pt x="4784" y="1835"/>
                    </a:lnTo>
                    <a:lnTo>
                      <a:pt x="4834" y="1861"/>
                    </a:lnTo>
                    <a:lnTo>
                      <a:pt x="4908" y="1908"/>
                    </a:lnTo>
                    <a:lnTo>
                      <a:pt x="4955" y="1940"/>
                    </a:lnTo>
                    <a:lnTo>
                      <a:pt x="4992" y="1979"/>
                    </a:lnTo>
                    <a:lnTo>
                      <a:pt x="5024" y="2023"/>
                    </a:lnTo>
                    <a:lnTo>
                      <a:pt x="5049" y="2071"/>
                    </a:lnTo>
                    <a:lnTo>
                      <a:pt x="5065" y="2123"/>
                    </a:lnTo>
                    <a:lnTo>
                      <a:pt x="5074" y="2176"/>
                    </a:lnTo>
                    <a:lnTo>
                      <a:pt x="5074" y="2230"/>
                    </a:lnTo>
                    <a:lnTo>
                      <a:pt x="5065" y="2283"/>
                    </a:lnTo>
                    <a:lnTo>
                      <a:pt x="5049" y="2336"/>
                    </a:lnTo>
                    <a:lnTo>
                      <a:pt x="5022" y="2386"/>
                    </a:lnTo>
                    <a:lnTo>
                      <a:pt x="4852" y="2666"/>
                    </a:lnTo>
                    <a:lnTo>
                      <a:pt x="4485" y="2440"/>
                    </a:lnTo>
                    <a:lnTo>
                      <a:pt x="4453" y="2420"/>
                    </a:lnTo>
                    <a:lnTo>
                      <a:pt x="4337" y="2349"/>
                    </a:lnTo>
                    <a:lnTo>
                      <a:pt x="4307" y="2329"/>
                    </a:lnTo>
                    <a:lnTo>
                      <a:pt x="4182" y="2254"/>
                    </a:lnTo>
                    <a:lnTo>
                      <a:pt x="4355" y="1975"/>
                    </a:lnTo>
                    <a:lnTo>
                      <a:pt x="4387" y="1931"/>
                    </a:lnTo>
                    <a:lnTo>
                      <a:pt x="4428" y="1891"/>
                    </a:lnTo>
                    <a:lnTo>
                      <a:pt x="4471" y="1859"/>
                    </a:lnTo>
                    <a:lnTo>
                      <a:pt x="4519" y="1835"/>
                    </a:lnTo>
                    <a:lnTo>
                      <a:pt x="4570" y="1819"/>
                    </a:lnTo>
                    <a:lnTo>
                      <a:pt x="4624" y="1810"/>
                    </a:lnTo>
                    <a:lnTo>
                      <a:pt x="4677" y="1810"/>
                    </a:lnTo>
                    <a:close/>
                    <a:moveTo>
                      <a:pt x="3011" y="710"/>
                    </a:moveTo>
                    <a:lnTo>
                      <a:pt x="3011" y="1093"/>
                    </a:lnTo>
                    <a:lnTo>
                      <a:pt x="3017" y="1160"/>
                    </a:lnTo>
                    <a:lnTo>
                      <a:pt x="3031" y="1226"/>
                    </a:lnTo>
                    <a:lnTo>
                      <a:pt x="3054" y="1288"/>
                    </a:lnTo>
                    <a:lnTo>
                      <a:pt x="3086" y="1345"/>
                    </a:lnTo>
                    <a:lnTo>
                      <a:pt x="3125" y="1397"/>
                    </a:lnTo>
                    <a:lnTo>
                      <a:pt x="3172" y="1443"/>
                    </a:lnTo>
                    <a:lnTo>
                      <a:pt x="3223" y="1482"/>
                    </a:lnTo>
                    <a:lnTo>
                      <a:pt x="3280" y="1514"/>
                    </a:lnTo>
                    <a:lnTo>
                      <a:pt x="3342" y="1537"/>
                    </a:lnTo>
                    <a:lnTo>
                      <a:pt x="3408" y="1552"/>
                    </a:lnTo>
                    <a:lnTo>
                      <a:pt x="3478" y="1557"/>
                    </a:lnTo>
                    <a:lnTo>
                      <a:pt x="3860" y="1557"/>
                    </a:lnTo>
                    <a:lnTo>
                      <a:pt x="3435" y="1133"/>
                    </a:lnTo>
                    <a:lnTo>
                      <a:pt x="3011" y="710"/>
                    </a:lnTo>
                    <a:close/>
                    <a:moveTo>
                      <a:pt x="881" y="0"/>
                    </a:moveTo>
                    <a:lnTo>
                      <a:pt x="2889" y="0"/>
                    </a:lnTo>
                    <a:lnTo>
                      <a:pt x="4542" y="1653"/>
                    </a:lnTo>
                    <a:lnTo>
                      <a:pt x="4476" y="1673"/>
                    </a:lnTo>
                    <a:lnTo>
                      <a:pt x="4412" y="1699"/>
                    </a:lnTo>
                    <a:lnTo>
                      <a:pt x="4353" y="1735"/>
                    </a:lnTo>
                    <a:lnTo>
                      <a:pt x="4300" y="1779"/>
                    </a:lnTo>
                    <a:lnTo>
                      <a:pt x="4252" y="1829"/>
                    </a:lnTo>
                    <a:lnTo>
                      <a:pt x="4211" y="1888"/>
                    </a:lnTo>
                    <a:lnTo>
                      <a:pt x="4154" y="1982"/>
                    </a:lnTo>
                    <a:lnTo>
                      <a:pt x="4154" y="1973"/>
                    </a:lnTo>
                    <a:lnTo>
                      <a:pt x="3478" y="1973"/>
                    </a:lnTo>
                    <a:lnTo>
                      <a:pt x="3382" y="1968"/>
                    </a:lnTo>
                    <a:lnTo>
                      <a:pt x="3287" y="1952"/>
                    </a:lnTo>
                    <a:lnTo>
                      <a:pt x="3198" y="1927"/>
                    </a:lnTo>
                    <a:lnTo>
                      <a:pt x="3113" y="1893"/>
                    </a:lnTo>
                    <a:lnTo>
                      <a:pt x="3033" y="1852"/>
                    </a:lnTo>
                    <a:lnTo>
                      <a:pt x="2956" y="1803"/>
                    </a:lnTo>
                    <a:lnTo>
                      <a:pt x="2887" y="1746"/>
                    </a:lnTo>
                    <a:lnTo>
                      <a:pt x="2823" y="1682"/>
                    </a:lnTo>
                    <a:lnTo>
                      <a:pt x="2766" y="1612"/>
                    </a:lnTo>
                    <a:lnTo>
                      <a:pt x="2716" y="1536"/>
                    </a:lnTo>
                    <a:lnTo>
                      <a:pt x="2675" y="1456"/>
                    </a:lnTo>
                    <a:lnTo>
                      <a:pt x="2641" y="1370"/>
                    </a:lnTo>
                    <a:lnTo>
                      <a:pt x="2616" y="1281"/>
                    </a:lnTo>
                    <a:lnTo>
                      <a:pt x="2600" y="1187"/>
                    </a:lnTo>
                    <a:lnTo>
                      <a:pt x="2597" y="1093"/>
                    </a:lnTo>
                    <a:lnTo>
                      <a:pt x="2597" y="416"/>
                    </a:lnTo>
                    <a:lnTo>
                      <a:pt x="881" y="416"/>
                    </a:lnTo>
                    <a:lnTo>
                      <a:pt x="814" y="420"/>
                    </a:lnTo>
                    <a:lnTo>
                      <a:pt x="748" y="436"/>
                    </a:lnTo>
                    <a:lnTo>
                      <a:pt x="685" y="459"/>
                    </a:lnTo>
                    <a:lnTo>
                      <a:pt x="628" y="491"/>
                    </a:lnTo>
                    <a:lnTo>
                      <a:pt x="577" y="530"/>
                    </a:lnTo>
                    <a:lnTo>
                      <a:pt x="531" y="577"/>
                    </a:lnTo>
                    <a:lnTo>
                      <a:pt x="491" y="628"/>
                    </a:lnTo>
                    <a:lnTo>
                      <a:pt x="459" y="685"/>
                    </a:lnTo>
                    <a:lnTo>
                      <a:pt x="436" y="747"/>
                    </a:lnTo>
                    <a:lnTo>
                      <a:pt x="420" y="813"/>
                    </a:lnTo>
                    <a:lnTo>
                      <a:pt x="417" y="881"/>
                    </a:lnTo>
                    <a:lnTo>
                      <a:pt x="417" y="4991"/>
                    </a:lnTo>
                    <a:lnTo>
                      <a:pt x="420" y="5061"/>
                    </a:lnTo>
                    <a:lnTo>
                      <a:pt x="436" y="5125"/>
                    </a:lnTo>
                    <a:lnTo>
                      <a:pt x="459" y="5187"/>
                    </a:lnTo>
                    <a:lnTo>
                      <a:pt x="491" y="5244"/>
                    </a:lnTo>
                    <a:lnTo>
                      <a:pt x="531" y="5297"/>
                    </a:lnTo>
                    <a:lnTo>
                      <a:pt x="577" y="5342"/>
                    </a:lnTo>
                    <a:lnTo>
                      <a:pt x="628" y="5381"/>
                    </a:lnTo>
                    <a:lnTo>
                      <a:pt x="685" y="5413"/>
                    </a:lnTo>
                    <a:lnTo>
                      <a:pt x="748" y="5438"/>
                    </a:lnTo>
                    <a:lnTo>
                      <a:pt x="814" y="5452"/>
                    </a:lnTo>
                    <a:lnTo>
                      <a:pt x="881" y="5457"/>
                    </a:lnTo>
                    <a:lnTo>
                      <a:pt x="3688" y="5457"/>
                    </a:lnTo>
                    <a:lnTo>
                      <a:pt x="3755" y="5452"/>
                    </a:lnTo>
                    <a:lnTo>
                      <a:pt x="3821" y="5438"/>
                    </a:lnTo>
                    <a:lnTo>
                      <a:pt x="3883" y="5413"/>
                    </a:lnTo>
                    <a:lnTo>
                      <a:pt x="3940" y="5381"/>
                    </a:lnTo>
                    <a:lnTo>
                      <a:pt x="3992" y="5342"/>
                    </a:lnTo>
                    <a:lnTo>
                      <a:pt x="4038" y="5297"/>
                    </a:lnTo>
                    <a:lnTo>
                      <a:pt x="4077" y="5244"/>
                    </a:lnTo>
                    <a:lnTo>
                      <a:pt x="4109" y="5187"/>
                    </a:lnTo>
                    <a:lnTo>
                      <a:pt x="4133" y="5125"/>
                    </a:lnTo>
                    <a:lnTo>
                      <a:pt x="4149" y="5061"/>
                    </a:lnTo>
                    <a:lnTo>
                      <a:pt x="4154" y="4991"/>
                    </a:lnTo>
                    <a:lnTo>
                      <a:pt x="4154" y="4158"/>
                    </a:lnTo>
                    <a:lnTo>
                      <a:pt x="4163" y="4153"/>
                    </a:lnTo>
                    <a:lnTo>
                      <a:pt x="4569" y="3468"/>
                    </a:lnTo>
                    <a:lnTo>
                      <a:pt x="4569" y="4991"/>
                    </a:lnTo>
                    <a:lnTo>
                      <a:pt x="4563" y="5087"/>
                    </a:lnTo>
                    <a:lnTo>
                      <a:pt x="4547" y="5180"/>
                    </a:lnTo>
                    <a:lnTo>
                      <a:pt x="4524" y="5269"/>
                    </a:lnTo>
                    <a:lnTo>
                      <a:pt x="4490" y="5354"/>
                    </a:lnTo>
                    <a:lnTo>
                      <a:pt x="4448" y="5436"/>
                    </a:lnTo>
                    <a:lnTo>
                      <a:pt x="4398" y="5511"/>
                    </a:lnTo>
                    <a:lnTo>
                      <a:pt x="4341" y="5580"/>
                    </a:lnTo>
                    <a:lnTo>
                      <a:pt x="4277" y="5644"/>
                    </a:lnTo>
                    <a:lnTo>
                      <a:pt x="4207" y="5701"/>
                    </a:lnTo>
                    <a:lnTo>
                      <a:pt x="4131" y="5751"/>
                    </a:lnTo>
                    <a:lnTo>
                      <a:pt x="4051" y="5794"/>
                    </a:lnTo>
                    <a:lnTo>
                      <a:pt x="3965" y="5828"/>
                    </a:lnTo>
                    <a:lnTo>
                      <a:pt x="3876" y="5852"/>
                    </a:lnTo>
                    <a:lnTo>
                      <a:pt x="3784" y="5867"/>
                    </a:lnTo>
                    <a:lnTo>
                      <a:pt x="3688" y="5872"/>
                    </a:lnTo>
                    <a:lnTo>
                      <a:pt x="881" y="5872"/>
                    </a:lnTo>
                    <a:lnTo>
                      <a:pt x="785" y="5867"/>
                    </a:lnTo>
                    <a:lnTo>
                      <a:pt x="693" y="5852"/>
                    </a:lnTo>
                    <a:lnTo>
                      <a:pt x="604" y="5828"/>
                    </a:lnTo>
                    <a:lnTo>
                      <a:pt x="518" y="5794"/>
                    </a:lnTo>
                    <a:lnTo>
                      <a:pt x="438" y="5751"/>
                    </a:lnTo>
                    <a:lnTo>
                      <a:pt x="361" y="5701"/>
                    </a:lnTo>
                    <a:lnTo>
                      <a:pt x="292" y="5644"/>
                    </a:lnTo>
                    <a:lnTo>
                      <a:pt x="228" y="5580"/>
                    </a:lnTo>
                    <a:lnTo>
                      <a:pt x="171" y="5511"/>
                    </a:lnTo>
                    <a:lnTo>
                      <a:pt x="121" y="5436"/>
                    </a:lnTo>
                    <a:lnTo>
                      <a:pt x="79" y="5354"/>
                    </a:lnTo>
                    <a:lnTo>
                      <a:pt x="46" y="5269"/>
                    </a:lnTo>
                    <a:lnTo>
                      <a:pt x="22" y="5180"/>
                    </a:lnTo>
                    <a:lnTo>
                      <a:pt x="6" y="5087"/>
                    </a:lnTo>
                    <a:lnTo>
                      <a:pt x="0" y="4991"/>
                    </a:lnTo>
                    <a:lnTo>
                      <a:pt x="0" y="881"/>
                    </a:lnTo>
                    <a:lnTo>
                      <a:pt x="6" y="785"/>
                    </a:lnTo>
                    <a:lnTo>
                      <a:pt x="22" y="692"/>
                    </a:lnTo>
                    <a:lnTo>
                      <a:pt x="46" y="603"/>
                    </a:lnTo>
                    <a:lnTo>
                      <a:pt x="79" y="518"/>
                    </a:lnTo>
                    <a:lnTo>
                      <a:pt x="121" y="438"/>
                    </a:lnTo>
                    <a:lnTo>
                      <a:pt x="171" y="361"/>
                    </a:lnTo>
                    <a:lnTo>
                      <a:pt x="228" y="292"/>
                    </a:lnTo>
                    <a:lnTo>
                      <a:pt x="292" y="228"/>
                    </a:lnTo>
                    <a:lnTo>
                      <a:pt x="361" y="171"/>
                    </a:lnTo>
                    <a:lnTo>
                      <a:pt x="438" y="121"/>
                    </a:lnTo>
                    <a:lnTo>
                      <a:pt x="518" y="78"/>
                    </a:lnTo>
                    <a:lnTo>
                      <a:pt x="604" y="46"/>
                    </a:lnTo>
                    <a:lnTo>
                      <a:pt x="693" y="21"/>
                    </a:lnTo>
                    <a:lnTo>
                      <a:pt x="785" y="5"/>
                    </a:lnTo>
                    <a:lnTo>
                      <a:pt x="88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0" name="Gruppieren 19"/>
          <p:cNvGrpSpPr/>
          <p:nvPr/>
        </p:nvGrpSpPr>
        <p:grpSpPr>
          <a:xfrm>
            <a:off x="6368151" y="1860079"/>
            <a:ext cx="2640558" cy="2128203"/>
            <a:chOff x="3308697" y="1860079"/>
            <a:chExt cx="2640558" cy="2128203"/>
          </a:xfrm>
        </p:grpSpPr>
        <p:sp>
          <p:nvSpPr>
            <p:cNvPr id="26" name="Textfeld 25"/>
            <p:cNvSpPr txBox="1"/>
            <p:nvPr/>
          </p:nvSpPr>
          <p:spPr>
            <a:xfrm>
              <a:off x="3308697" y="2295511"/>
              <a:ext cx="2640558" cy="1692771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200" dirty="0"/>
                <a:t>Стремительно растущий сегмент</a:t>
              </a:r>
              <a:endParaRPr lang="en-US" altLang="zh-CN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200" b="1" dirty="0"/>
                <a:t>Самые популярные модели </a:t>
              </a:r>
              <a:r>
                <a:rPr lang="ru-RU" altLang="zh-CN" sz="1200" dirty="0"/>
                <a:t>на основе анализа рынка 2022</a:t>
              </a:r>
              <a:endParaRPr lang="en-US" altLang="zh-CN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200" dirty="0"/>
                <a:t>90 лм/Вт</a:t>
              </a:r>
              <a:endParaRPr lang="ru-RU" altLang="zh-CN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200" b="1" dirty="0"/>
                <a:t>2 года гарантии</a:t>
              </a:r>
              <a:endParaRPr lang="en-US" altLang="zh-CN" sz="1200" b="1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200" b="1" dirty="0"/>
                <a:t>Полное соответствие техрегламентам</a:t>
              </a:r>
              <a:endParaRPr lang="en-US" altLang="zh-CN" sz="1200" b="1" dirty="0"/>
            </a:p>
          </p:txBody>
        </p:sp>
        <p:grpSp>
          <p:nvGrpSpPr>
            <p:cNvPr id="19" name="Gruppieren 18"/>
            <p:cNvGrpSpPr/>
            <p:nvPr/>
          </p:nvGrpSpPr>
          <p:grpSpPr>
            <a:xfrm>
              <a:off x="3308697" y="1860079"/>
              <a:ext cx="2640558" cy="360000"/>
              <a:chOff x="3308697" y="1860079"/>
              <a:chExt cx="2640558" cy="360000"/>
            </a:xfrm>
          </p:grpSpPr>
          <p:grpSp>
            <p:nvGrpSpPr>
              <p:cNvPr id="28" name="Gruppieren 27"/>
              <p:cNvGrpSpPr/>
              <p:nvPr/>
            </p:nvGrpSpPr>
            <p:grpSpPr>
              <a:xfrm>
                <a:off x="3308697" y="1860079"/>
                <a:ext cx="2640558" cy="360000"/>
                <a:chOff x="426036" y="1860079"/>
                <a:chExt cx="2640558" cy="360000"/>
              </a:xfrm>
            </p:grpSpPr>
            <p:sp>
              <p:nvSpPr>
                <p:cNvPr id="30" name="AutoShape 3"/>
                <p:cNvSpPr>
                  <a:spLocks noChangeArrowheads="1"/>
                </p:cNvSpPr>
                <p:nvPr/>
              </p:nvSpPr>
              <p:spPr bwMode="auto">
                <a:xfrm>
                  <a:off x="504136" y="1886363"/>
                  <a:ext cx="2562458" cy="30743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6600"/>
                </a:solidFill>
                <a:ln w="0" algn="ctr">
                  <a:noFill/>
                  <a:round/>
                </a:ln>
                <a:effectLst/>
              </p:spPr>
              <p:txBody>
                <a:bodyPr lIns="360000" tIns="0" rIns="36000" bIns="0" anchor="ctr"/>
                <a:lstStyle/>
                <a:p>
                  <a:pPr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ru-RU" altLang="zh-CN" b="1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Преимущества</a:t>
                  </a:r>
                  <a:endPara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37" name="AutoShape 3"/>
                <p:cNvSpPr>
                  <a:spLocks noChangeArrowheads="1"/>
                </p:cNvSpPr>
                <p:nvPr/>
              </p:nvSpPr>
              <p:spPr bwMode="auto">
                <a:xfrm>
                  <a:off x="426036" y="1860079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0" algn="ctr">
                  <a:solidFill>
                    <a:schemeClr val="accent1"/>
                  </a:solidFill>
                  <a:round/>
                </a:ln>
                <a:effectLst/>
              </p:spPr>
              <p:txBody>
                <a:bodyPr wrap="none" lIns="0" tIns="36000" rIns="0" bIns="36000" anchor="ctr">
                  <a:noAutofit/>
                </a:bodyPr>
                <a:lstStyle/>
                <a:p>
                  <a:pPr algn="ctr"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en-US" altLang="zh-CN" sz="1600" b="1" dirty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 2.</a:t>
                  </a:r>
                  <a:endPara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84" name="Freeform 5"/>
              <p:cNvSpPr>
                <a:spLocks noEditPoints="1"/>
              </p:cNvSpPr>
              <p:nvPr/>
            </p:nvSpPr>
            <p:spPr bwMode="auto">
              <a:xfrm>
                <a:off x="5634172" y="1917114"/>
                <a:ext cx="245804" cy="245931"/>
              </a:xfrm>
              <a:custGeom>
                <a:avLst/>
                <a:gdLst>
                  <a:gd name="T0" fmla="*/ 1995 w 3219"/>
                  <a:gd name="T1" fmla="*/ 2606 h 3220"/>
                  <a:gd name="T2" fmla="*/ 1759 w 3219"/>
                  <a:gd name="T3" fmla="*/ 2347 h 3220"/>
                  <a:gd name="T4" fmla="*/ 942 w 3219"/>
                  <a:gd name="T5" fmla="*/ 1758 h 3220"/>
                  <a:gd name="T6" fmla="*/ 948 w 3219"/>
                  <a:gd name="T7" fmla="*/ 1797 h 3220"/>
                  <a:gd name="T8" fmla="*/ 971 w 3219"/>
                  <a:gd name="T9" fmla="*/ 1834 h 3220"/>
                  <a:gd name="T10" fmla="*/ 579 w 3219"/>
                  <a:gd name="T11" fmla="*/ 1865 h 3220"/>
                  <a:gd name="T12" fmla="*/ 620 w 3219"/>
                  <a:gd name="T13" fmla="*/ 1807 h 3220"/>
                  <a:gd name="T14" fmla="*/ 632 w 3219"/>
                  <a:gd name="T15" fmla="*/ 1758 h 3220"/>
                  <a:gd name="T16" fmla="*/ 1575 w 3219"/>
                  <a:gd name="T17" fmla="*/ 2700 h 3220"/>
                  <a:gd name="T18" fmla="*/ 1440 w 3219"/>
                  <a:gd name="T19" fmla="*/ 943 h 3220"/>
                  <a:gd name="T20" fmla="*/ 518 w 3219"/>
                  <a:gd name="T21" fmla="*/ 1573 h 3220"/>
                  <a:gd name="T22" fmla="*/ 658 w 3219"/>
                  <a:gd name="T23" fmla="*/ 1878 h 3220"/>
                  <a:gd name="T24" fmla="*/ 928 w 3219"/>
                  <a:gd name="T25" fmla="*/ 2095 h 3220"/>
                  <a:gd name="T26" fmla="*/ 1056 w 3219"/>
                  <a:gd name="T27" fmla="*/ 1573 h 3220"/>
                  <a:gd name="T28" fmla="*/ 1461 w 3219"/>
                  <a:gd name="T29" fmla="*/ 941 h 3220"/>
                  <a:gd name="T30" fmla="*/ 1412 w 3219"/>
                  <a:gd name="T31" fmla="*/ 952 h 3220"/>
                  <a:gd name="T32" fmla="*/ 1224 w 3219"/>
                  <a:gd name="T33" fmla="*/ 1030 h 3220"/>
                  <a:gd name="T34" fmla="*/ 1355 w 3219"/>
                  <a:gd name="T35" fmla="*/ 579 h 3220"/>
                  <a:gd name="T36" fmla="*/ 1385 w 3219"/>
                  <a:gd name="T37" fmla="*/ 602 h 3220"/>
                  <a:gd name="T38" fmla="*/ 1412 w 3219"/>
                  <a:gd name="T39" fmla="*/ 619 h 3220"/>
                  <a:gd name="T40" fmla="*/ 1461 w 3219"/>
                  <a:gd name="T41" fmla="*/ 631 h 3220"/>
                  <a:gd name="T42" fmla="*/ 0 w 3219"/>
                  <a:gd name="T43" fmla="*/ 1573 h 3220"/>
                  <a:gd name="T44" fmla="*/ 1644 w 3219"/>
                  <a:gd name="T45" fmla="*/ 517 h 3220"/>
                  <a:gd name="T46" fmla="*/ 1396 w 3219"/>
                  <a:gd name="T47" fmla="*/ 689 h 3220"/>
                  <a:gd name="T48" fmla="*/ 1342 w 3219"/>
                  <a:gd name="T49" fmla="*/ 658 h 3220"/>
                  <a:gd name="T50" fmla="*/ 1337 w 3219"/>
                  <a:gd name="T51" fmla="*/ 917 h 3220"/>
                  <a:gd name="T52" fmla="*/ 1368 w 3219"/>
                  <a:gd name="T53" fmla="*/ 894 h 3220"/>
                  <a:gd name="T54" fmla="*/ 1644 w 3219"/>
                  <a:gd name="T55" fmla="*/ 1054 h 3220"/>
                  <a:gd name="T56" fmla="*/ 2226 w 3219"/>
                  <a:gd name="T57" fmla="*/ 1554 h 3220"/>
                  <a:gd name="T58" fmla="*/ 2270 w 3219"/>
                  <a:gd name="T59" fmla="*/ 1494 h 3220"/>
                  <a:gd name="T60" fmla="*/ 2188 w 3219"/>
                  <a:gd name="T61" fmla="*/ 1223 h 3220"/>
                  <a:gd name="T62" fmla="*/ 2671 w 3219"/>
                  <a:gd name="T63" fmla="*/ 1273 h 3220"/>
                  <a:gd name="T64" fmla="*/ 2640 w 3219"/>
                  <a:gd name="T65" fmla="*/ 1351 h 3220"/>
                  <a:gd name="T66" fmla="*/ 2587 w 3219"/>
                  <a:gd name="T67" fmla="*/ 1458 h 3220"/>
                  <a:gd name="T68" fmla="*/ 1644 w 3219"/>
                  <a:gd name="T69" fmla="*/ 0 h 3220"/>
                  <a:gd name="T70" fmla="*/ 3219 w 3219"/>
                  <a:gd name="T71" fmla="*/ 3218 h 3220"/>
                  <a:gd name="T72" fmla="*/ 1647 w 3219"/>
                  <a:gd name="T73" fmla="*/ 2676 h 3220"/>
                  <a:gd name="T74" fmla="*/ 1832 w 3219"/>
                  <a:gd name="T75" fmla="*/ 2613 h 3220"/>
                  <a:gd name="T76" fmla="*/ 1938 w 3219"/>
                  <a:gd name="T77" fmla="*/ 2668 h 3220"/>
                  <a:gd name="T78" fmla="*/ 1828 w 3219"/>
                  <a:gd name="T79" fmla="*/ 2252 h 3220"/>
                  <a:gd name="T80" fmla="*/ 2170 w 3219"/>
                  <a:gd name="T81" fmla="*/ 1644 h 3220"/>
                  <a:gd name="T82" fmla="*/ 2263 w 3219"/>
                  <a:gd name="T83" fmla="*/ 1614 h 3220"/>
                  <a:gd name="T84" fmla="*/ 2339 w 3219"/>
                  <a:gd name="T85" fmla="*/ 1515 h 3220"/>
                  <a:gd name="T86" fmla="*/ 2344 w 3219"/>
                  <a:gd name="T87" fmla="*/ 1428 h 3220"/>
                  <a:gd name="T88" fmla="*/ 2323 w 3219"/>
                  <a:gd name="T89" fmla="*/ 1368 h 3220"/>
                  <a:gd name="T90" fmla="*/ 2305 w 3219"/>
                  <a:gd name="T91" fmla="*/ 1342 h 3220"/>
                  <a:gd name="T92" fmla="*/ 2605 w 3219"/>
                  <a:gd name="T93" fmla="*/ 1224 h 3220"/>
                  <a:gd name="T94" fmla="*/ 2579 w 3219"/>
                  <a:gd name="T95" fmla="*/ 1317 h 3220"/>
                  <a:gd name="T96" fmla="*/ 2544 w 3219"/>
                  <a:gd name="T97" fmla="*/ 1365 h 3220"/>
                  <a:gd name="T98" fmla="*/ 2524 w 3219"/>
                  <a:gd name="T99" fmla="*/ 1410 h 3220"/>
                  <a:gd name="T100" fmla="*/ 2517 w 3219"/>
                  <a:gd name="T101" fmla="*/ 1458 h 3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19" h="3220">
                    <a:moveTo>
                      <a:pt x="1759" y="2516"/>
                    </a:moveTo>
                    <a:lnTo>
                      <a:pt x="1759" y="2516"/>
                    </a:lnTo>
                    <a:lnTo>
                      <a:pt x="1759" y="2516"/>
                    </a:lnTo>
                    <a:cubicBezTo>
                      <a:pt x="1804" y="2516"/>
                      <a:pt x="1847" y="2533"/>
                      <a:pt x="1878" y="2560"/>
                    </a:cubicBezTo>
                    <a:cubicBezTo>
                      <a:pt x="1909" y="2589"/>
                      <a:pt x="1950" y="2606"/>
                      <a:pt x="1995" y="2606"/>
                    </a:cubicBezTo>
                    <a:cubicBezTo>
                      <a:pt x="2091" y="2604"/>
                      <a:pt x="2169" y="2527"/>
                      <a:pt x="2169" y="2431"/>
                    </a:cubicBezTo>
                    <a:cubicBezTo>
                      <a:pt x="2169" y="2336"/>
                      <a:pt x="2091" y="2258"/>
                      <a:pt x="1995" y="2258"/>
                    </a:cubicBezTo>
                    <a:cubicBezTo>
                      <a:pt x="1949" y="2258"/>
                      <a:pt x="1908" y="2276"/>
                      <a:pt x="1877" y="2305"/>
                    </a:cubicBezTo>
                    <a:lnTo>
                      <a:pt x="1876" y="2305"/>
                    </a:lnTo>
                    <a:cubicBezTo>
                      <a:pt x="1845" y="2331"/>
                      <a:pt x="1803" y="2348"/>
                      <a:pt x="1759" y="2347"/>
                    </a:cubicBezTo>
                    <a:cubicBezTo>
                      <a:pt x="1657" y="2347"/>
                      <a:pt x="1575" y="2264"/>
                      <a:pt x="1575" y="2163"/>
                    </a:cubicBezTo>
                    <a:lnTo>
                      <a:pt x="1575" y="1644"/>
                    </a:lnTo>
                    <a:lnTo>
                      <a:pt x="1056" y="1644"/>
                    </a:lnTo>
                    <a:cubicBezTo>
                      <a:pt x="1032" y="1644"/>
                      <a:pt x="1011" y="1651"/>
                      <a:pt x="993" y="1665"/>
                    </a:cubicBezTo>
                    <a:cubicBezTo>
                      <a:pt x="962" y="1685"/>
                      <a:pt x="942" y="1718"/>
                      <a:pt x="942" y="1758"/>
                    </a:cubicBezTo>
                    <a:cubicBezTo>
                      <a:pt x="942" y="1760"/>
                      <a:pt x="942" y="1765"/>
                      <a:pt x="944" y="1772"/>
                    </a:cubicBezTo>
                    <a:cubicBezTo>
                      <a:pt x="944" y="1776"/>
                      <a:pt x="944" y="1777"/>
                      <a:pt x="944" y="1778"/>
                    </a:cubicBezTo>
                    <a:lnTo>
                      <a:pt x="944" y="1779"/>
                    </a:lnTo>
                    <a:cubicBezTo>
                      <a:pt x="945" y="1780"/>
                      <a:pt x="945" y="1784"/>
                      <a:pt x="947" y="1789"/>
                    </a:cubicBezTo>
                    <a:cubicBezTo>
                      <a:pt x="948" y="1796"/>
                      <a:pt x="948" y="1797"/>
                      <a:pt x="948" y="1797"/>
                    </a:cubicBezTo>
                    <a:cubicBezTo>
                      <a:pt x="950" y="1798"/>
                      <a:pt x="951" y="1802"/>
                      <a:pt x="954" y="1808"/>
                    </a:cubicBezTo>
                    <a:cubicBezTo>
                      <a:pt x="957" y="1813"/>
                      <a:pt x="957" y="1814"/>
                      <a:pt x="958" y="1815"/>
                    </a:cubicBezTo>
                    <a:cubicBezTo>
                      <a:pt x="958" y="1816"/>
                      <a:pt x="960" y="1820"/>
                      <a:pt x="963" y="1823"/>
                    </a:cubicBezTo>
                    <a:cubicBezTo>
                      <a:pt x="965" y="1827"/>
                      <a:pt x="968" y="1829"/>
                      <a:pt x="968" y="1829"/>
                    </a:cubicBezTo>
                    <a:cubicBezTo>
                      <a:pt x="969" y="1832"/>
                      <a:pt x="970" y="1833"/>
                      <a:pt x="971" y="1834"/>
                    </a:cubicBezTo>
                    <a:lnTo>
                      <a:pt x="970" y="1834"/>
                    </a:lnTo>
                    <a:cubicBezTo>
                      <a:pt x="1008" y="1876"/>
                      <a:pt x="1031" y="1932"/>
                      <a:pt x="1031" y="1994"/>
                    </a:cubicBezTo>
                    <a:cubicBezTo>
                      <a:pt x="1031" y="2128"/>
                      <a:pt x="922" y="2238"/>
                      <a:pt x="787" y="2238"/>
                    </a:cubicBezTo>
                    <a:cubicBezTo>
                      <a:pt x="652" y="2238"/>
                      <a:pt x="542" y="2129"/>
                      <a:pt x="542" y="1994"/>
                    </a:cubicBezTo>
                    <a:cubicBezTo>
                      <a:pt x="542" y="1946"/>
                      <a:pt x="556" y="1902"/>
                      <a:pt x="579" y="1865"/>
                    </a:cubicBezTo>
                    <a:cubicBezTo>
                      <a:pt x="586" y="1854"/>
                      <a:pt x="595" y="1844"/>
                      <a:pt x="601" y="1838"/>
                    </a:cubicBezTo>
                    <a:cubicBezTo>
                      <a:pt x="601" y="1837"/>
                      <a:pt x="603" y="1834"/>
                      <a:pt x="607" y="1829"/>
                    </a:cubicBezTo>
                    <a:cubicBezTo>
                      <a:pt x="607" y="1829"/>
                      <a:pt x="607" y="1828"/>
                      <a:pt x="610" y="1822"/>
                    </a:cubicBezTo>
                    <a:cubicBezTo>
                      <a:pt x="614" y="1817"/>
                      <a:pt x="615" y="1816"/>
                      <a:pt x="616" y="1815"/>
                    </a:cubicBezTo>
                    <a:cubicBezTo>
                      <a:pt x="616" y="1814"/>
                      <a:pt x="617" y="1811"/>
                      <a:pt x="620" y="1807"/>
                    </a:cubicBezTo>
                    <a:cubicBezTo>
                      <a:pt x="622" y="1801"/>
                      <a:pt x="625" y="1798"/>
                      <a:pt x="625" y="1797"/>
                    </a:cubicBezTo>
                    <a:cubicBezTo>
                      <a:pt x="625" y="1797"/>
                      <a:pt x="626" y="1795"/>
                      <a:pt x="627" y="1789"/>
                    </a:cubicBezTo>
                    <a:cubicBezTo>
                      <a:pt x="628" y="1783"/>
                      <a:pt x="629" y="1779"/>
                      <a:pt x="629" y="1778"/>
                    </a:cubicBezTo>
                    <a:cubicBezTo>
                      <a:pt x="629" y="1778"/>
                      <a:pt x="629" y="1777"/>
                      <a:pt x="631" y="1771"/>
                    </a:cubicBezTo>
                    <a:cubicBezTo>
                      <a:pt x="631" y="1764"/>
                      <a:pt x="632" y="1760"/>
                      <a:pt x="632" y="1758"/>
                    </a:cubicBezTo>
                    <a:cubicBezTo>
                      <a:pt x="632" y="1696"/>
                      <a:pt x="580" y="1644"/>
                      <a:pt x="518" y="1644"/>
                    </a:cubicBezTo>
                    <a:lnTo>
                      <a:pt x="0" y="1644"/>
                    </a:lnTo>
                    <a:lnTo>
                      <a:pt x="0" y="3220"/>
                    </a:lnTo>
                    <a:lnTo>
                      <a:pt x="1575" y="3220"/>
                    </a:lnTo>
                    <a:lnTo>
                      <a:pt x="1575" y="2700"/>
                    </a:lnTo>
                    <a:cubicBezTo>
                      <a:pt x="1575" y="2637"/>
                      <a:pt x="1607" y="2581"/>
                      <a:pt x="1656" y="2548"/>
                    </a:cubicBezTo>
                    <a:cubicBezTo>
                      <a:pt x="1685" y="2528"/>
                      <a:pt x="1720" y="2516"/>
                      <a:pt x="1759" y="2516"/>
                    </a:cubicBezTo>
                    <a:lnTo>
                      <a:pt x="1759" y="2516"/>
                    </a:lnTo>
                    <a:close/>
                    <a:moveTo>
                      <a:pt x="1440" y="943"/>
                    </a:moveTo>
                    <a:lnTo>
                      <a:pt x="1440" y="943"/>
                    </a:lnTo>
                    <a:lnTo>
                      <a:pt x="1440" y="943"/>
                    </a:lnTo>
                    <a:lnTo>
                      <a:pt x="1440" y="943"/>
                    </a:lnTo>
                    <a:close/>
                    <a:moveTo>
                      <a:pt x="518" y="1573"/>
                    </a:moveTo>
                    <a:lnTo>
                      <a:pt x="518" y="1573"/>
                    </a:lnTo>
                    <a:lnTo>
                      <a:pt x="518" y="1573"/>
                    </a:lnTo>
                    <a:cubicBezTo>
                      <a:pt x="558" y="1573"/>
                      <a:pt x="596" y="1586"/>
                      <a:pt x="626" y="1608"/>
                    </a:cubicBezTo>
                    <a:cubicBezTo>
                      <a:pt x="672" y="1641"/>
                      <a:pt x="702" y="1696"/>
                      <a:pt x="702" y="1757"/>
                    </a:cubicBezTo>
                    <a:cubicBezTo>
                      <a:pt x="702" y="1798"/>
                      <a:pt x="689" y="1835"/>
                      <a:pt x="668" y="1866"/>
                    </a:cubicBezTo>
                    <a:cubicBezTo>
                      <a:pt x="664" y="1869"/>
                      <a:pt x="662" y="1873"/>
                      <a:pt x="659" y="1876"/>
                    </a:cubicBezTo>
                    <a:lnTo>
                      <a:pt x="658" y="1878"/>
                    </a:lnTo>
                    <a:cubicBezTo>
                      <a:pt x="653" y="1882"/>
                      <a:pt x="650" y="1887"/>
                      <a:pt x="646" y="1892"/>
                    </a:cubicBezTo>
                    <a:cubicBezTo>
                      <a:pt x="626" y="1921"/>
                      <a:pt x="614" y="1955"/>
                      <a:pt x="614" y="1994"/>
                    </a:cubicBezTo>
                    <a:cubicBezTo>
                      <a:pt x="614" y="2051"/>
                      <a:pt x="641" y="2102"/>
                      <a:pt x="686" y="2135"/>
                    </a:cubicBezTo>
                    <a:cubicBezTo>
                      <a:pt x="714" y="2155"/>
                      <a:pt x="749" y="2167"/>
                      <a:pt x="787" y="2167"/>
                    </a:cubicBezTo>
                    <a:cubicBezTo>
                      <a:pt x="844" y="2167"/>
                      <a:pt x="896" y="2139"/>
                      <a:pt x="928" y="2095"/>
                    </a:cubicBezTo>
                    <a:cubicBezTo>
                      <a:pt x="948" y="2066"/>
                      <a:pt x="960" y="2032"/>
                      <a:pt x="960" y="1994"/>
                    </a:cubicBezTo>
                    <a:cubicBezTo>
                      <a:pt x="960" y="1947"/>
                      <a:pt x="944" y="1906"/>
                      <a:pt x="914" y="1875"/>
                    </a:cubicBezTo>
                    <a:cubicBezTo>
                      <a:pt x="887" y="1843"/>
                      <a:pt x="872" y="1802"/>
                      <a:pt x="872" y="1757"/>
                    </a:cubicBezTo>
                    <a:cubicBezTo>
                      <a:pt x="872" y="1718"/>
                      <a:pt x="884" y="1679"/>
                      <a:pt x="907" y="1650"/>
                    </a:cubicBezTo>
                    <a:cubicBezTo>
                      <a:pt x="940" y="1603"/>
                      <a:pt x="994" y="1573"/>
                      <a:pt x="1056" y="1573"/>
                    </a:cubicBezTo>
                    <a:lnTo>
                      <a:pt x="1575" y="1573"/>
                    </a:lnTo>
                    <a:lnTo>
                      <a:pt x="1575" y="1054"/>
                    </a:lnTo>
                    <a:cubicBezTo>
                      <a:pt x="1575" y="1031"/>
                      <a:pt x="1567" y="1009"/>
                      <a:pt x="1554" y="991"/>
                    </a:cubicBezTo>
                    <a:cubicBezTo>
                      <a:pt x="1547" y="979"/>
                      <a:pt x="1538" y="970"/>
                      <a:pt x="1527" y="963"/>
                    </a:cubicBezTo>
                    <a:cubicBezTo>
                      <a:pt x="1508" y="948"/>
                      <a:pt x="1485" y="941"/>
                      <a:pt x="1461" y="941"/>
                    </a:cubicBezTo>
                    <a:cubicBezTo>
                      <a:pt x="1458" y="941"/>
                      <a:pt x="1453" y="941"/>
                      <a:pt x="1446" y="942"/>
                    </a:cubicBezTo>
                    <a:cubicBezTo>
                      <a:pt x="1442" y="942"/>
                      <a:pt x="1441" y="942"/>
                      <a:pt x="1441" y="942"/>
                    </a:cubicBezTo>
                    <a:cubicBezTo>
                      <a:pt x="1438" y="942"/>
                      <a:pt x="1436" y="943"/>
                      <a:pt x="1428" y="946"/>
                    </a:cubicBezTo>
                    <a:cubicBezTo>
                      <a:pt x="1424" y="947"/>
                      <a:pt x="1422" y="948"/>
                      <a:pt x="1421" y="948"/>
                    </a:cubicBezTo>
                    <a:cubicBezTo>
                      <a:pt x="1421" y="948"/>
                      <a:pt x="1417" y="949"/>
                      <a:pt x="1412" y="952"/>
                    </a:cubicBezTo>
                    <a:cubicBezTo>
                      <a:pt x="1406" y="955"/>
                      <a:pt x="1404" y="957"/>
                      <a:pt x="1404" y="957"/>
                    </a:cubicBezTo>
                    <a:cubicBezTo>
                      <a:pt x="1403" y="957"/>
                      <a:pt x="1400" y="959"/>
                      <a:pt x="1394" y="963"/>
                    </a:cubicBezTo>
                    <a:cubicBezTo>
                      <a:pt x="1392" y="965"/>
                      <a:pt x="1391" y="965"/>
                      <a:pt x="1389" y="966"/>
                    </a:cubicBezTo>
                    <a:cubicBezTo>
                      <a:pt x="1387" y="968"/>
                      <a:pt x="1385" y="970"/>
                      <a:pt x="1385" y="970"/>
                    </a:cubicBezTo>
                    <a:cubicBezTo>
                      <a:pt x="1342" y="1007"/>
                      <a:pt x="1285" y="1030"/>
                      <a:pt x="1224" y="1030"/>
                    </a:cubicBezTo>
                    <a:cubicBezTo>
                      <a:pt x="1172" y="1030"/>
                      <a:pt x="1122" y="1013"/>
                      <a:pt x="1082" y="983"/>
                    </a:cubicBezTo>
                    <a:cubicBezTo>
                      <a:pt x="1021" y="939"/>
                      <a:pt x="981" y="867"/>
                      <a:pt x="981" y="786"/>
                    </a:cubicBezTo>
                    <a:cubicBezTo>
                      <a:pt x="981" y="733"/>
                      <a:pt x="997" y="683"/>
                      <a:pt x="1026" y="644"/>
                    </a:cubicBezTo>
                    <a:cubicBezTo>
                      <a:pt x="1070" y="582"/>
                      <a:pt x="1143" y="541"/>
                      <a:pt x="1224" y="542"/>
                    </a:cubicBezTo>
                    <a:cubicBezTo>
                      <a:pt x="1271" y="542"/>
                      <a:pt x="1315" y="555"/>
                      <a:pt x="1355" y="579"/>
                    </a:cubicBezTo>
                    <a:cubicBezTo>
                      <a:pt x="1354" y="579"/>
                      <a:pt x="1354" y="578"/>
                      <a:pt x="1354" y="578"/>
                    </a:cubicBezTo>
                    <a:lnTo>
                      <a:pt x="1355" y="579"/>
                    </a:lnTo>
                    <a:cubicBezTo>
                      <a:pt x="1357" y="580"/>
                      <a:pt x="1361" y="583"/>
                      <a:pt x="1364" y="586"/>
                    </a:cubicBezTo>
                    <a:cubicBezTo>
                      <a:pt x="1371" y="590"/>
                      <a:pt x="1377" y="596"/>
                      <a:pt x="1383" y="601"/>
                    </a:cubicBezTo>
                    <a:cubicBezTo>
                      <a:pt x="1383" y="601"/>
                      <a:pt x="1383" y="601"/>
                      <a:pt x="1385" y="602"/>
                    </a:cubicBezTo>
                    <a:cubicBezTo>
                      <a:pt x="1385" y="602"/>
                      <a:pt x="1386" y="603"/>
                      <a:pt x="1388" y="604"/>
                    </a:cubicBezTo>
                    <a:cubicBezTo>
                      <a:pt x="1389" y="605"/>
                      <a:pt x="1392" y="607"/>
                      <a:pt x="1397" y="610"/>
                    </a:cubicBezTo>
                    <a:cubicBezTo>
                      <a:pt x="1398" y="611"/>
                      <a:pt x="1400" y="613"/>
                      <a:pt x="1403" y="614"/>
                    </a:cubicBezTo>
                    <a:lnTo>
                      <a:pt x="1404" y="615"/>
                    </a:lnTo>
                    <a:cubicBezTo>
                      <a:pt x="1404" y="615"/>
                      <a:pt x="1407" y="616"/>
                      <a:pt x="1412" y="619"/>
                    </a:cubicBezTo>
                    <a:cubicBezTo>
                      <a:pt x="1418" y="622"/>
                      <a:pt x="1422" y="623"/>
                      <a:pt x="1422" y="623"/>
                    </a:cubicBezTo>
                    <a:cubicBezTo>
                      <a:pt x="1422" y="623"/>
                      <a:pt x="1424" y="625"/>
                      <a:pt x="1431" y="626"/>
                    </a:cubicBezTo>
                    <a:cubicBezTo>
                      <a:pt x="1437" y="627"/>
                      <a:pt x="1440" y="628"/>
                      <a:pt x="1440" y="628"/>
                    </a:cubicBezTo>
                    <a:cubicBezTo>
                      <a:pt x="1440" y="628"/>
                      <a:pt x="1442" y="628"/>
                      <a:pt x="1449" y="629"/>
                    </a:cubicBezTo>
                    <a:cubicBezTo>
                      <a:pt x="1455" y="631"/>
                      <a:pt x="1459" y="631"/>
                      <a:pt x="1461" y="631"/>
                    </a:cubicBezTo>
                    <a:cubicBezTo>
                      <a:pt x="1498" y="631"/>
                      <a:pt x="1533" y="611"/>
                      <a:pt x="1553" y="583"/>
                    </a:cubicBezTo>
                    <a:cubicBezTo>
                      <a:pt x="1566" y="565"/>
                      <a:pt x="1575" y="541"/>
                      <a:pt x="1575" y="517"/>
                    </a:cubicBezTo>
                    <a:lnTo>
                      <a:pt x="1575" y="0"/>
                    </a:lnTo>
                    <a:lnTo>
                      <a:pt x="0" y="0"/>
                    </a:lnTo>
                    <a:lnTo>
                      <a:pt x="0" y="1573"/>
                    </a:lnTo>
                    <a:lnTo>
                      <a:pt x="518" y="1573"/>
                    </a:lnTo>
                    <a:lnTo>
                      <a:pt x="518" y="1573"/>
                    </a:lnTo>
                    <a:close/>
                    <a:moveTo>
                      <a:pt x="1644" y="0"/>
                    </a:moveTo>
                    <a:lnTo>
                      <a:pt x="1644" y="0"/>
                    </a:lnTo>
                    <a:lnTo>
                      <a:pt x="1644" y="517"/>
                    </a:lnTo>
                    <a:cubicBezTo>
                      <a:pt x="1644" y="618"/>
                      <a:pt x="1562" y="701"/>
                      <a:pt x="1460" y="701"/>
                    </a:cubicBezTo>
                    <a:cubicBezTo>
                      <a:pt x="1449" y="701"/>
                      <a:pt x="1439" y="700"/>
                      <a:pt x="1429" y="698"/>
                    </a:cubicBezTo>
                    <a:lnTo>
                      <a:pt x="1428" y="698"/>
                    </a:lnTo>
                    <a:cubicBezTo>
                      <a:pt x="1418" y="696"/>
                      <a:pt x="1411" y="694"/>
                      <a:pt x="1406" y="692"/>
                    </a:cubicBezTo>
                    <a:cubicBezTo>
                      <a:pt x="1406" y="692"/>
                      <a:pt x="1403" y="691"/>
                      <a:pt x="1396" y="689"/>
                    </a:cubicBezTo>
                    <a:cubicBezTo>
                      <a:pt x="1388" y="686"/>
                      <a:pt x="1383" y="683"/>
                      <a:pt x="1379" y="682"/>
                    </a:cubicBezTo>
                    <a:cubicBezTo>
                      <a:pt x="1378" y="681"/>
                      <a:pt x="1374" y="679"/>
                      <a:pt x="1367" y="676"/>
                    </a:cubicBezTo>
                    <a:cubicBezTo>
                      <a:pt x="1360" y="671"/>
                      <a:pt x="1356" y="667"/>
                      <a:pt x="1353" y="665"/>
                    </a:cubicBezTo>
                    <a:cubicBezTo>
                      <a:pt x="1353" y="665"/>
                      <a:pt x="1349" y="664"/>
                      <a:pt x="1343" y="659"/>
                    </a:cubicBezTo>
                    <a:lnTo>
                      <a:pt x="1342" y="658"/>
                    </a:lnTo>
                    <a:cubicBezTo>
                      <a:pt x="1341" y="657"/>
                      <a:pt x="1338" y="655"/>
                      <a:pt x="1336" y="653"/>
                    </a:cubicBezTo>
                    <a:cubicBezTo>
                      <a:pt x="1305" y="628"/>
                      <a:pt x="1267" y="612"/>
                      <a:pt x="1224" y="612"/>
                    </a:cubicBezTo>
                    <a:cubicBezTo>
                      <a:pt x="1128" y="612"/>
                      <a:pt x="1050" y="690"/>
                      <a:pt x="1050" y="786"/>
                    </a:cubicBezTo>
                    <a:cubicBezTo>
                      <a:pt x="1050" y="881"/>
                      <a:pt x="1128" y="959"/>
                      <a:pt x="1224" y="959"/>
                    </a:cubicBezTo>
                    <a:cubicBezTo>
                      <a:pt x="1267" y="959"/>
                      <a:pt x="1305" y="943"/>
                      <a:pt x="1337" y="917"/>
                    </a:cubicBezTo>
                    <a:cubicBezTo>
                      <a:pt x="1339" y="915"/>
                      <a:pt x="1341" y="914"/>
                      <a:pt x="1342" y="914"/>
                    </a:cubicBezTo>
                    <a:lnTo>
                      <a:pt x="1342" y="912"/>
                    </a:lnTo>
                    <a:lnTo>
                      <a:pt x="1343" y="912"/>
                    </a:lnTo>
                    <a:cubicBezTo>
                      <a:pt x="1348" y="908"/>
                      <a:pt x="1351" y="906"/>
                      <a:pt x="1353" y="905"/>
                    </a:cubicBezTo>
                    <a:cubicBezTo>
                      <a:pt x="1356" y="903"/>
                      <a:pt x="1360" y="899"/>
                      <a:pt x="1368" y="894"/>
                    </a:cubicBezTo>
                    <a:cubicBezTo>
                      <a:pt x="1374" y="892"/>
                      <a:pt x="1378" y="890"/>
                      <a:pt x="1378" y="890"/>
                    </a:cubicBezTo>
                    <a:cubicBezTo>
                      <a:pt x="1383" y="887"/>
                      <a:pt x="1388" y="885"/>
                      <a:pt x="1396" y="881"/>
                    </a:cubicBezTo>
                    <a:cubicBezTo>
                      <a:pt x="1403" y="879"/>
                      <a:pt x="1406" y="879"/>
                      <a:pt x="1406" y="879"/>
                    </a:cubicBezTo>
                    <a:cubicBezTo>
                      <a:pt x="1422" y="874"/>
                      <a:pt x="1440" y="871"/>
                      <a:pt x="1460" y="871"/>
                    </a:cubicBezTo>
                    <a:cubicBezTo>
                      <a:pt x="1562" y="871"/>
                      <a:pt x="1644" y="953"/>
                      <a:pt x="1644" y="1054"/>
                    </a:cubicBezTo>
                    <a:lnTo>
                      <a:pt x="1644" y="1573"/>
                    </a:lnTo>
                    <a:lnTo>
                      <a:pt x="2163" y="1573"/>
                    </a:lnTo>
                    <a:cubicBezTo>
                      <a:pt x="2174" y="1573"/>
                      <a:pt x="2184" y="1571"/>
                      <a:pt x="2194" y="1568"/>
                    </a:cubicBezTo>
                    <a:cubicBezTo>
                      <a:pt x="2195" y="1568"/>
                      <a:pt x="2198" y="1567"/>
                      <a:pt x="2200" y="1567"/>
                    </a:cubicBezTo>
                    <a:cubicBezTo>
                      <a:pt x="2209" y="1563"/>
                      <a:pt x="2218" y="1558"/>
                      <a:pt x="2226" y="1554"/>
                    </a:cubicBezTo>
                    <a:cubicBezTo>
                      <a:pt x="2233" y="1549"/>
                      <a:pt x="2239" y="1543"/>
                      <a:pt x="2245" y="1537"/>
                    </a:cubicBezTo>
                    <a:cubicBezTo>
                      <a:pt x="2248" y="1535"/>
                      <a:pt x="2249" y="1534"/>
                      <a:pt x="2250" y="1531"/>
                    </a:cubicBezTo>
                    <a:cubicBezTo>
                      <a:pt x="2254" y="1526"/>
                      <a:pt x="2257" y="1523"/>
                      <a:pt x="2260" y="1518"/>
                    </a:cubicBezTo>
                    <a:cubicBezTo>
                      <a:pt x="2262" y="1514"/>
                      <a:pt x="2263" y="1512"/>
                      <a:pt x="2264" y="1508"/>
                    </a:cubicBezTo>
                    <a:cubicBezTo>
                      <a:pt x="2267" y="1504"/>
                      <a:pt x="2269" y="1499"/>
                      <a:pt x="2270" y="1494"/>
                    </a:cubicBezTo>
                    <a:cubicBezTo>
                      <a:pt x="2272" y="1490"/>
                      <a:pt x="2273" y="1488"/>
                      <a:pt x="2274" y="1484"/>
                    </a:cubicBezTo>
                    <a:cubicBezTo>
                      <a:pt x="2275" y="1477"/>
                      <a:pt x="2276" y="1470"/>
                      <a:pt x="2276" y="1462"/>
                    </a:cubicBezTo>
                    <a:cubicBezTo>
                      <a:pt x="2276" y="1461"/>
                      <a:pt x="2276" y="1461"/>
                      <a:pt x="2276" y="1459"/>
                    </a:cubicBezTo>
                    <a:cubicBezTo>
                      <a:pt x="2276" y="1432"/>
                      <a:pt x="2267" y="1408"/>
                      <a:pt x="2251" y="1388"/>
                    </a:cubicBezTo>
                    <a:cubicBezTo>
                      <a:pt x="2212" y="1345"/>
                      <a:pt x="2188" y="1287"/>
                      <a:pt x="2188" y="1223"/>
                    </a:cubicBezTo>
                    <a:cubicBezTo>
                      <a:pt x="2188" y="1117"/>
                      <a:pt x="2257" y="1027"/>
                      <a:pt x="2353" y="994"/>
                    </a:cubicBezTo>
                    <a:cubicBezTo>
                      <a:pt x="2378" y="985"/>
                      <a:pt x="2404" y="979"/>
                      <a:pt x="2432" y="979"/>
                    </a:cubicBezTo>
                    <a:cubicBezTo>
                      <a:pt x="2567" y="979"/>
                      <a:pt x="2676" y="1088"/>
                      <a:pt x="2676" y="1224"/>
                    </a:cubicBezTo>
                    <a:cubicBezTo>
                      <a:pt x="2676" y="1238"/>
                      <a:pt x="2674" y="1252"/>
                      <a:pt x="2672" y="1266"/>
                    </a:cubicBezTo>
                    <a:cubicBezTo>
                      <a:pt x="2672" y="1268"/>
                      <a:pt x="2671" y="1271"/>
                      <a:pt x="2671" y="1273"/>
                    </a:cubicBezTo>
                    <a:cubicBezTo>
                      <a:pt x="2668" y="1286"/>
                      <a:pt x="2665" y="1298"/>
                      <a:pt x="2660" y="1309"/>
                    </a:cubicBezTo>
                    <a:cubicBezTo>
                      <a:pt x="2660" y="1310"/>
                      <a:pt x="2659" y="1312"/>
                      <a:pt x="2659" y="1314"/>
                    </a:cubicBezTo>
                    <a:cubicBezTo>
                      <a:pt x="2655" y="1323"/>
                      <a:pt x="2650" y="1333"/>
                      <a:pt x="2644" y="1342"/>
                    </a:cubicBezTo>
                    <a:lnTo>
                      <a:pt x="2644" y="1343"/>
                    </a:lnTo>
                    <a:lnTo>
                      <a:pt x="2640" y="1351"/>
                    </a:lnTo>
                    <a:cubicBezTo>
                      <a:pt x="2633" y="1364"/>
                      <a:pt x="2623" y="1376"/>
                      <a:pt x="2613" y="1386"/>
                    </a:cubicBezTo>
                    <a:cubicBezTo>
                      <a:pt x="2605" y="1396"/>
                      <a:pt x="2599" y="1407"/>
                      <a:pt x="2594" y="1419"/>
                    </a:cubicBezTo>
                    <a:lnTo>
                      <a:pt x="2594" y="1420"/>
                    </a:lnTo>
                    <a:cubicBezTo>
                      <a:pt x="2594" y="1420"/>
                      <a:pt x="2594" y="1420"/>
                      <a:pt x="2594" y="1422"/>
                    </a:cubicBezTo>
                    <a:cubicBezTo>
                      <a:pt x="2590" y="1433"/>
                      <a:pt x="2587" y="1445"/>
                      <a:pt x="2587" y="1458"/>
                    </a:cubicBezTo>
                    <a:lnTo>
                      <a:pt x="2587" y="1459"/>
                    </a:lnTo>
                    <a:cubicBezTo>
                      <a:pt x="2587" y="1521"/>
                      <a:pt x="2638" y="1573"/>
                      <a:pt x="2701" y="1573"/>
                    </a:cubicBezTo>
                    <a:lnTo>
                      <a:pt x="3219" y="1573"/>
                    </a:lnTo>
                    <a:lnTo>
                      <a:pt x="3219" y="0"/>
                    </a:lnTo>
                    <a:lnTo>
                      <a:pt x="1644" y="0"/>
                    </a:lnTo>
                    <a:lnTo>
                      <a:pt x="1644" y="0"/>
                    </a:lnTo>
                    <a:close/>
                    <a:moveTo>
                      <a:pt x="2701" y="1644"/>
                    </a:moveTo>
                    <a:lnTo>
                      <a:pt x="2701" y="1644"/>
                    </a:lnTo>
                    <a:lnTo>
                      <a:pt x="3219" y="1644"/>
                    </a:lnTo>
                    <a:lnTo>
                      <a:pt x="3219" y="3218"/>
                    </a:lnTo>
                    <a:lnTo>
                      <a:pt x="1644" y="3218"/>
                    </a:lnTo>
                    <a:lnTo>
                      <a:pt x="1644" y="2699"/>
                    </a:lnTo>
                    <a:cubicBezTo>
                      <a:pt x="1644" y="2697"/>
                      <a:pt x="1644" y="2694"/>
                      <a:pt x="1645" y="2692"/>
                    </a:cubicBezTo>
                    <a:cubicBezTo>
                      <a:pt x="1645" y="2687"/>
                      <a:pt x="1645" y="2681"/>
                      <a:pt x="1647" y="2677"/>
                    </a:cubicBezTo>
                    <a:cubicBezTo>
                      <a:pt x="1647" y="2677"/>
                      <a:pt x="1647" y="2677"/>
                      <a:pt x="1647" y="2676"/>
                    </a:cubicBezTo>
                    <a:cubicBezTo>
                      <a:pt x="1648" y="2668"/>
                      <a:pt x="1650" y="2662"/>
                      <a:pt x="1653" y="2655"/>
                    </a:cubicBezTo>
                    <a:cubicBezTo>
                      <a:pt x="1655" y="2652"/>
                      <a:pt x="1657" y="2649"/>
                      <a:pt x="1659" y="2646"/>
                    </a:cubicBezTo>
                    <a:cubicBezTo>
                      <a:pt x="1661" y="2642"/>
                      <a:pt x="1662" y="2640"/>
                      <a:pt x="1663" y="2636"/>
                    </a:cubicBezTo>
                    <a:cubicBezTo>
                      <a:pt x="1684" y="2606"/>
                      <a:pt x="1718" y="2586"/>
                      <a:pt x="1758" y="2586"/>
                    </a:cubicBezTo>
                    <a:cubicBezTo>
                      <a:pt x="1786" y="2586"/>
                      <a:pt x="1813" y="2597"/>
                      <a:pt x="1832" y="2613"/>
                    </a:cubicBezTo>
                    <a:cubicBezTo>
                      <a:pt x="1839" y="2621"/>
                      <a:pt x="1847" y="2625"/>
                      <a:pt x="1856" y="2631"/>
                    </a:cubicBezTo>
                    <a:cubicBezTo>
                      <a:pt x="1859" y="2634"/>
                      <a:pt x="1862" y="2636"/>
                      <a:pt x="1866" y="2638"/>
                    </a:cubicBezTo>
                    <a:cubicBezTo>
                      <a:pt x="1875" y="2644"/>
                      <a:pt x="1886" y="2649"/>
                      <a:pt x="1895" y="2653"/>
                    </a:cubicBezTo>
                    <a:cubicBezTo>
                      <a:pt x="1899" y="2655"/>
                      <a:pt x="1902" y="2658"/>
                      <a:pt x="1906" y="2659"/>
                    </a:cubicBezTo>
                    <a:cubicBezTo>
                      <a:pt x="1915" y="2662"/>
                      <a:pt x="1927" y="2665"/>
                      <a:pt x="1938" y="2668"/>
                    </a:cubicBezTo>
                    <a:cubicBezTo>
                      <a:pt x="1942" y="2668"/>
                      <a:pt x="1944" y="2670"/>
                      <a:pt x="1948" y="2671"/>
                    </a:cubicBezTo>
                    <a:cubicBezTo>
                      <a:pt x="1963" y="2673"/>
                      <a:pt x="1979" y="2676"/>
                      <a:pt x="1994" y="2676"/>
                    </a:cubicBezTo>
                    <a:cubicBezTo>
                      <a:pt x="2128" y="2676"/>
                      <a:pt x="2238" y="2566"/>
                      <a:pt x="2238" y="2431"/>
                    </a:cubicBezTo>
                    <a:cubicBezTo>
                      <a:pt x="2238" y="2296"/>
                      <a:pt x="2128" y="2187"/>
                      <a:pt x="1994" y="2187"/>
                    </a:cubicBezTo>
                    <a:cubicBezTo>
                      <a:pt x="1930" y="2187"/>
                      <a:pt x="1871" y="2212"/>
                      <a:pt x="1828" y="2252"/>
                    </a:cubicBezTo>
                    <a:cubicBezTo>
                      <a:pt x="1808" y="2267"/>
                      <a:pt x="1784" y="2275"/>
                      <a:pt x="1758" y="2275"/>
                    </a:cubicBezTo>
                    <a:cubicBezTo>
                      <a:pt x="1696" y="2275"/>
                      <a:pt x="1644" y="2225"/>
                      <a:pt x="1644" y="2162"/>
                    </a:cubicBezTo>
                    <a:lnTo>
                      <a:pt x="1644" y="1644"/>
                    </a:lnTo>
                    <a:lnTo>
                      <a:pt x="2163" y="1644"/>
                    </a:lnTo>
                    <a:cubicBezTo>
                      <a:pt x="2165" y="1644"/>
                      <a:pt x="2168" y="1644"/>
                      <a:pt x="2170" y="1644"/>
                    </a:cubicBezTo>
                    <a:cubicBezTo>
                      <a:pt x="2178" y="1643"/>
                      <a:pt x="2187" y="1643"/>
                      <a:pt x="2195" y="1640"/>
                    </a:cubicBezTo>
                    <a:cubicBezTo>
                      <a:pt x="2200" y="1640"/>
                      <a:pt x="2203" y="1639"/>
                      <a:pt x="2207" y="1638"/>
                    </a:cubicBezTo>
                    <a:cubicBezTo>
                      <a:pt x="2214" y="1637"/>
                      <a:pt x="2221" y="1634"/>
                      <a:pt x="2227" y="1632"/>
                    </a:cubicBezTo>
                    <a:cubicBezTo>
                      <a:pt x="2231" y="1631"/>
                      <a:pt x="2235" y="1630"/>
                      <a:pt x="2238" y="1627"/>
                    </a:cubicBezTo>
                    <a:cubicBezTo>
                      <a:pt x="2248" y="1624"/>
                      <a:pt x="2255" y="1619"/>
                      <a:pt x="2263" y="1614"/>
                    </a:cubicBezTo>
                    <a:cubicBezTo>
                      <a:pt x="2275" y="1606"/>
                      <a:pt x="2287" y="1596"/>
                      <a:pt x="2297" y="1585"/>
                    </a:cubicBezTo>
                    <a:cubicBezTo>
                      <a:pt x="2299" y="1583"/>
                      <a:pt x="2301" y="1581"/>
                      <a:pt x="2304" y="1577"/>
                    </a:cubicBezTo>
                    <a:cubicBezTo>
                      <a:pt x="2310" y="1570"/>
                      <a:pt x="2316" y="1561"/>
                      <a:pt x="2321" y="1553"/>
                    </a:cubicBezTo>
                    <a:cubicBezTo>
                      <a:pt x="2323" y="1549"/>
                      <a:pt x="2325" y="1545"/>
                      <a:pt x="2328" y="1541"/>
                    </a:cubicBezTo>
                    <a:cubicBezTo>
                      <a:pt x="2331" y="1533"/>
                      <a:pt x="2335" y="1523"/>
                      <a:pt x="2339" y="1515"/>
                    </a:cubicBezTo>
                    <a:cubicBezTo>
                      <a:pt x="2340" y="1510"/>
                      <a:pt x="2341" y="1506"/>
                      <a:pt x="2342" y="1502"/>
                    </a:cubicBezTo>
                    <a:cubicBezTo>
                      <a:pt x="2344" y="1490"/>
                      <a:pt x="2347" y="1478"/>
                      <a:pt x="2347" y="1465"/>
                    </a:cubicBezTo>
                    <a:cubicBezTo>
                      <a:pt x="2347" y="1462"/>
                      <a:pt x="2347" y="1461"/>
                      <a:pt x="2347" y="1460"/>
                    </a:cubicBezTo>
                    <a:cubicBezTo>
                      <a:pt x="2347" y="1451"/>
                      <a:pt x="2346" y="1442"/>
                      <a:pt x="2346" y="1436"/>
                    </a:cubicBezTo>
                    <a:cubicBezTo>
                      <a:pt x="2346" y="1436"/>
                      <a:pt x="2346" y="1432"/>
                      <a:pt x="2344" y="1428"/>
                    </a:cubicBezTo>
                    <a:cubicBezTo>
                      <a:pt x="2342" y="1418"/>
                      <a:pt x="2341" y="1412"/>
                      <a:pt x="2340" y="1409"/>
                    </a:cubicBezTo>
                    <a:cubicBezTo>
                      <a:pt x="2340" y="1408"/>
                      <a:pt x="2339" y="1403"/>
                      <a:pt x="2336" y="1396"/>
                    </a:cubicBezTo>
                    <a:cubicBezTo>
                      <a:pt x="2333" y="1388"/>
                      <a:pt x="2330" y="1382"/>
                      <a:pt x="2329" y="1380"/>
                    </a:cubicBezTo>
                    <a:cubicBezTo>
                      <a:pt x="2328" y="1379"/>
                      <a:pt x="2327" y="1375"/>
                      <a:pt x="2323" y="1369"/>
                    </a:cubicBezTo>
                    <a:lnTo>
                      <a:pt x="2323" y="1368"/>
                    </a:lnTo>
                    <a:cubicBezTo>
                      <a:pt x="2322" y="1367"/>
                      <a:pt x="2322" y="1367"/>
                      <a:pt x="2322" y="1367"/>
                    </a:cubicBezTo>
                    <a:cubicBezTo>
                      <a:pt x="2318" y="1360"/>
                      <a:pt x="2315" y="1356"/>
                      <a:pt x="2312" y="1353"/>
                    </a:cubicBezTo>
                    <a:cubicBezTo>
                      <a:pt x="2312" y="1353"/>
                      <a:pt x="2310" y="1349"/>
                      <a:pt x="2306" y="1344"/>
                    </a:cubicBezTo>
                    <a:cubicBezTo>
                      <a:pt x="2306" y="1344"/>
                      <a:pt x="2306" y="1343"/>
                      <a:pt x="2305" y="1343"/>
                    </a:cubicBezTo>
                    <a:cubicBezTo>
                      <a:pt x="2305" y="1343"/>
                      <a:pt x="2305" y="1343"/>
                      <a:pt x="2305" y="1342"/>
                    </a:cubicBezTo>
                    <a:cubicBezTo>
                      <a:pt x="2305" y="1343"/>
                      <a:pt x="2304" y="1341"/>
                      <a:pt x="2301" y="1338"/>
                    </a:cubicBezTo>
                    <a:cubicBezTo>
                      <a:pt x="2275" y="1307"/>
                      <a:pt x="2258" y="1268"/>
                      <a:pt x="2258" y="1225"/>
                    </a:cubicBezTo>
                    <a:cubicBezTo>
                      <a:pt x="2258" y="1166"/>
                      <a:pt x="2287" y="1116"/>
                      <a:pt x="2330" y="1085"/>
                    </a:cubicBezTo>
                    <a:cubicBezTo>
                      <a:pt x="2359" y="1064"/>
                      <a:pt x="2394" y="1050"/>
                      <a:pt x="2432" y="1050"/>
                    </a:cubicBezTo>
                    <a:cubicBezTo>
                      <a:pt x="2527" y="1050"/>
                      <a:pt x="2605" y="1128"/>
                      <a:pt x="2605" y="1224"/>
                    </a:cubicBezTo>
                    <a:cubicBezTo>
                      <a:pt x="2605" y="1224"/>
                      <a:pt x="2605" y="1225"/>
                      <a:pt x="2605" y="1226"/>
                    </a:cubicBezTo>
                    <a:cubicBezTo>
                      <a:pt x="2605" y="1240"/>
                      <a:pt x="2603" y="1253"/>
                      <a:pt x="2599" y="1267"/>
                    </a:cubicBezTo>
                    <a:cubicBezTo>
                      <a:pt x="2599" y="1270"/>
                      <a:pt x="2598" y="1274"/>
                      <a:pt x="2597" y="1277"/>
                    </a:cubicBezTo>
                    <a:cubicBezTo>
                      <a:pt x="2592" y="1290"/>
                      <a:pt x="2587" y="1304"/>
                      <a:pt x="2580" y="1316"/>
                    </a:cubicBezTo>
                    <a:lnTo>
                      <a:pt x="2579" y="1317"/>
                    </a:lnTo>
                    <a:cubicBezTo>
                      <a:pt x="2576" y="1322"/>
                      <a:pt x="2573" y="1325"/>
                      <a:pt x="2569" y="1329"/>
                    </a:cubicBezTo>
                    <a:cubicBezTo>
                      <a:pt x="2568" y="1331"/>
                      <a:pt x="2566" y="1333"/>
                      <a:pt x="2563" y="1337"/>
                    </a:cubicBezTo>
                    <a:cubicBezTo>
                      <a:pt x="2561" y="1339"/>
                      <a:pt x="2560" y="1342"/>
                      <a:pt x="2560" y="1343"/>
                    </a:cubicBezTo>
                    <a:cubicBezTo>
                      <a:pt x="2554" y="1349"/>
                      <a:pt x="2551" y="1354"/>
                      <a:pt x="2551" y="1354"/>
                    </a:cubicBezTo>
                    <a:cubicBezTo>
                      <a:pt x="2549" y="1356"/>
                      <a:pt x="2546" y="1360"/>
                      <a:pt x="2544" y="1365"/>
                    </a:cubicBezTo>
                    <a:cubicBezTo>
                      <a:pt x="2543" y="1365"/>
                      <a:pt x="2543" y="1366"/>
                      <a:pt x="2542" y="1367"/>
                    </a:cubicBezTo>
                    <a:cubicBezTo>
                      <a:pt x="2538" y="1374"/>
                      <a:pt x="2536" y="1379"/>
                      <a:pt x="2535" y="1381"/>
                    </a:cubicBezTo>
                    <a:cubicBezTo>
                      <a:pt x="2535" y="1382"/>
                      <a:pt x="2532" y="1387"/>
                      <a:pt x="2531" y="1390"/>
                    </a:cubicBezTo>
                    <a:cubicBezTo>
                      <a:pt x="2530" y="1392"/>
                      <a:pt x="2529" y="1394"/>
                      <a:pt x="2527" y="1397"/>
                    </a:cubicBezTo>
                    <a:cubicBezTo>
                      <a:pt x="2526" y="1404"/>
                      <a:pt x="2525" y="1408"/>
                      <a:pt x="2524" y="1410"/>
                    </a:cubicBezTo>
                    <a:cubicBezTo>
                      <a:pt x="2524" y="1411"/>
                      <a:pt x="2524" y="1412"/>
                      <a:pt x="2524" y="1413"/>
                    </a:cubicBezTo>
                    <a:cubicBezTo>
                      <a:pt x="2523" y="1415"/>
                      <a:pt x="2523" y="1417"/>
                      <a:pt x="2521" y="1421"/>
                    </a:cubicBezTo>
                    <a:cubicBezTo>
                      <a:pt x="2520" y="1424"/>
                      <a:pt x="2520" y="1426"/>
                      <a:pt x="2519" y="1430"/>
                    </a:cubicBezTo>
                    <a:cubicBezTo>
                      <a:pt x="2519" y="1435"/>
                      <a:pt x="2519" y="1440"/>
                      <a:pt x="2518" y="1441"/>
                    </a:cubicBezTo>
                    <a:cubicBezTo>
                      <a:pt x="2518" y="1443"/>
                      <a:pt x="2517" y="1449"/>
                      <a:pt x="2517" y="1458"/>
                    </a:cubicBezTo>
                    <a:cubicBezTo>
                      <a:pt x="2517" y="1459"/>
                      <a:pt x="2517" y="1459"/>
                      <a:pt x="2517" y="1460"/>
                    </a:cubicBezTo>
                    <a:cubicBezTo>
                      <a:pt x="2517" y="1561"/>
                      <a:pt x="2599" y="1644"/>
                      <a:pt x="2701" y="1644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/>
              </a:p>
            </p:txBody>
          </p:sp>
        </p:grpSp>
      </p:grpSp>
      <p:pic>
        <p:nvPicPr>
          <p:cNvPr id="9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5561" y="4056659"/>
            <a:ext cx="2226626" cy="262998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062" b="95232" l="9864" r="93878">
                        <a14:foregroundMark x1="32143" y1="85825" x2="38946" y2="75902"/>
                        <a14:foregroundMark x1="58163" y1="2062" x2="54252" y2="14433"/>
                        <a14:foregroundMark x1="93878" y1="2835" x2="83297" y2="5801"/>
                        <a14:foregroundMark x1="29932" y1="69845" x2="46429" y2="86082"/>
                        <a14:foregroundMark x1="46429" y1="86082" x2="38946" y2="73711"/>
                        <a14:foregroundMark x1="34354" y1="71649" x2="51361" y2="77191"/>
                        <a14:foregroundMark x1="39456" y1="75515" x2="16837" y2="82345"/>
                        <a14:foregroundMark x1="19048" y1="85825" x2="38435" y2="92268"/>
                        <a14:foregroundMark x1="52041" y1="86211" x2="38946" y2="95232"/>
                        <a14:backgroundMark x1="74150" y1="8505" x2="82653" y2="67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49474" y="4207981"/>
            <a:ext cx="1791668" cy="2364514"/>
          </a:xfrm>
          <a:prstGeom prst="rect">
            <a:avLst/>
          </a:prstGeom>
        </p:spPr>
      </p:pic>
      <p:pic>
        <p:nvPicPr>
          <p:cNvPr id="24" name="Рисунок 23" descr="Изображение выглядит как черно-белый&#10;&#10;Автоматически созданное описание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35" r="9618"/>
          <a:stretch>
            <a:fillRect/>
          </a:stretch>
        </p:blipFill>
        <p:spPr>
          <a:xfrm>
            <a:off x="1941968" y="1746135"/>
            <a:ext cx="1412241" cy="3550082"/>
          </a:xfrm>
          <a:prstGeom prst="rect">
            <a:avLst/>
          </a:prstGeom>
        </p:spPr>
      </p:pic>
      <p:pic>
        <p:nvPicPr>
          <p:cNvPr id="27" name="Рисунок 26" descr="Изображение выглядит как лампа, свет, черно-белый, освещение&#10;&#10;Автоматически созданное описание со средним доверительным уровнем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04" r="15738"/>
          <a:stretch>
            <a:fillRect/>
          </a:stretch>
        </p:blipFill>
        <p:spPr>
          <a:xfrm>
            <a:off x="519824" y="1742739"/>
            <a:ext cx="1412241" cy="3504759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61912" y="3905572"/>
            <a:ext cx="1727289" cy="2908449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72275" y="3905572"/>
            <a:ext cx="1765032" cy="2897148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щий обзор</a:t>
            </a:r>
            <a:r>
              <a:rPr lang="en-US" dirty="0"/>
              <a:t> ECO TRACKSP &amp; ACCESSORIES</a:t>
            </a:r>
            <a:endParaRPr lang="ru-RU" dirty="0"/>
          </a:p>
        </p:txBody>
      </p:sp>
      <p:graphicFrame>
        <p:nvGraphicFramePr>
          <p:cNvPr id="6" name="Table 3"/>
          <p:cNvGraphicFramePr>
            <a:graphicFrameLocks noGrp="1"/>
          </p:cNvGraphicFramePr>
          <p:nvPr/>
        </p:nvGraphicFramePr>
        <p:xfrm>
          <a:off x="76838" y="692995"/>
          <a:ext cx="2850777" cy="13521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850777"/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800" b="1" cap="all" baseline="0" dirty="0">
                          <a:solidFill>
                            <a:schemeClr val="bg1"/>
                          </a:solidFill>
                        </a:rPr>
                        <a:t>ECO TRACKSPOT &amp; ACCESSORIES</a:t>
                      </a:r>
                      <a:endParaRPr lang="en-US" sz="2800" b="1" cap="none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7200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7" name="Рисунок 18"/>
          <p:cNvPicPr>
            <a:picLocks noChangeAspect="1"/>
          </p:cNvPicPr>
          <p:nvPr/>
        </p:nvPicPr>
        <p:blipFill rotWithShape="1">
          <a:blip r:embed="rId1"/>
          <a:srcRect t="626"/>
          <a:stretch>
            <a:fillRect/>
          </a:stretch>
        </p:blipFill>
        <p:spPr>
          <a:xfrm>
            <a:off x="0" y="2121629"/>
            <a:ext cx="3004457" cy="3676641"/>
          </a:xfrm>
          <a:prstGeom prst="rect">
            <a:avLst/>
          </a:prstGeom>
        </p:spPr>
      </p:pic>
      <p:sp>
        <p:nvSpPr>
          <p:cNvPr id="8" name="Rechteck 14"/>
          <p:cNvSpPr/>
          <p:nvPr/>
        </p:nvSpPr>
        <p:spPr>
          <a:xfrm>
            <a:off x="7528095" y="1321982"/>
            <a:ext cx="4174048" cy="398115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8000" tIns="45720" rIns="91440" bIns="4572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балансированная линейка мощностей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т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Вт до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т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ru-RU" b="1" kern="0" dirty="0">
                <a:solidFill>
                  <a:srgbClr val="000000"/>
                </a:solidFill>
                <a:latin typeface="Arial" panose="020B0604020202020204"/>
              </a:rPr>
              <a:t>Металлический</a:t>
            </a:r>
            <a:r>
              <a:rPr lang="ru-RU" kern="0" dirty="0">
                <a:solidFill>
                  <a:srgbClr val="000000"/>
                </a:solidFill>
                <a:latin typeface="Arial" panose="020B0604020202020204"/>
              </a:rPr>
              <a:t> корпус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овременный дизайн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Угол </a:t>
            </a:r>
            <a:r>
              <a:rPr lang="ru-RU" b="1" kern="0" dirty="0">
                <a:solidFill>
                  <a:srgbClr val="000000"/>
                </a:solidFill>
                <a:latin typeface="Arial" panose="020B0604020202020204"/>
              </a:rPr>
              <a:t>свечения -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36°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D)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  <a:latin typeface="Arial" panose="020B0604020202020204"/>
              </a:rPr>
              <a:t>Легкий монтаж</a:t>
            </a:r>
            <a:endParaRPr lang="ru-RU" kern="0" dirty="0">
              <a:solidFill>
                <a:srgbClr val="000000"/>
              </a:solidFill>
              <a:latin typeface="Arial" panose="020B06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воротный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можно регулировать свет в любом направлении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оздает световые акценты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  <a:latin typeface="Arial" panose="020B0604020202020204"/>
              </a:rPr>
              <a:t>Подходит </a:t>
            </a:r>
            <a:r>
              <a:rPr lang="ru-RU" b="1" kern="0" dirty="0">
                <a:solidFill>
                  <a:srgbClr val="000000"/>
                </a:solidFill>
                <a:latin typeface="Arial" panose="020B0604020202020204"/>
              </a:rPr>
              <a:t>для любых </a:t>
            </a:r>
            <a:r>
              <a:rPr lang="ru-RU" kern="0" dirty="0">
                <a:solidFill>
                  <a:srgbClr val="000000"/>
                </a:solidFill>
                <a:latin typeface="Arial" panose="020B0604020202020204"/>
              </a:rPr>
              <a:t>однофазных</a:t>
            </a:r>
            <a:r>
              <a:rPr lang="ru-RU" b="1" kern="0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ru-RU" kern="0" dirty="0">
                <a:solidFill>
                  <a:srgbClr val="000000"/>
                </a:solidFill>
                <a:latin typeface="Arial" panose="020B0604020202020204"/>
              </a:rPr>
              <a:t>шинопроводов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hteck 30"/>
          <p:cNvSpPr/>
          <p:nvPr/>
        </p:nvSpPr>
        <p:spPr bwMode="auto">
          <a:xfrm>
            <a:off x="3193257" y="1322164"/>
            <a:ext cx="4261625" cy="3981158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9C9E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93258" y="5398160"/>
            <a:ext cx="8596461" cy="4001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оединяется с однофазными шинопроводами любых производителей!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0475" y="1724360"/>
            <a:ext cx="2226626" cy="262998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2" name="Рисунок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8243" y="1554678"/>
            <a:ext cx="1727289" cy="2908449"/>
          </a:xfrm>
          <a:prstGeom prst="rect">
            <a:avLst/>
          </a:prstGeom>
        </p:spPr>
      </p:pic>
      <p:grpSp>
        <p:nvGrpSpPr>
          <p:cNvPr id="13" name="Группа 11"/>
          <p:cNvGrpSpPr/>
          <p:nvPr/>
        </p:nvGrpSpPr>
        <p:grpSpPr>
          <a:xfrm>
            <a:off x="4004509" y="4549924"/>
            <a:ext cx="623440" cy="617760"/>
            <a:chOff x="9004128" y="1800947"/>
            <a:chExt cx="623440" cy="617760"/>
          </a:xfrm>
        </p:grpSpPr>
        <p:sp>
          <p:nvSpPr>
            <p:cNvPr id="14" name="Овал 12"/>
            <p:cNvSpPr/>
            <p:nvPr/>
          </p:nvSpPr>
          <p:spPr>
            <a:xfrm>
              <a:off x="9006969" y="1800947"/>
              <a:ext cx="617760" cy="6177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004128" y="1958651"/>
              <a:ext cx="62344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900" b="1" dirty="0">
                  <a:solidFill>
                    <a:prstClr val="white"/>
                  </a:solidFill>
                  <a:latin typeface="Arial" panose="020B0604020202020204"/>
                </a:rPr>
                <a:t>90</a:t>
              </a:r>
              <a:endPara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prstClr val="white"/>
                  </a:solidFill>
                  <a:latin typeface="Arial" panose="020B0604020202020204"/>
                </a:rPr>
                <a:t>лм/В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6" name="Овал 19"/>
          <p:cNvSpPr/>
          <p:nvPr/>
        </p:nvSpPr>
        <p:spPr>
          <a:xfrm>
            <a:off x="4697119" y="4549924"/>
            <a:ext cx="617760" cy="617760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625610" y="4756825"/>
            <a:ext cx="753732" cy="2515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0K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Овал 22"/>
          <p:cNvSpPr/>
          <p:nvPr/>
        </p:nvSpPr>
        <p:spPr>
          <a:xfrm>
            <a:off x="5388035" y="4549924"/>
            <a:ext cx="617760" cy="61776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389698" y="4770716"/>
            <a:ext cx="606256" cy="2544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20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" name="Рисунок 27"/>
          <p:cNvPicPr>
            <a:picLocks noChangeAspect="1"/>
          </p:cNvPicPr>
          <p:nvPr/>
        </p:nvPicPr>
        <p:blipFill rotWithShape="1">
          <a:blip r:embed="rId4"/>
          <a:srcRect l="9356" t="17829" r="17484" b="9789"/>
          <a:stretch>
            <a:fillRect/>
          </a:stretch>
        </p:blipFill>
        <p:spPr>
          <a:xfrm>
            <a:off x="6096000" y="4539920"/>
            <a:ext cx="627763" cy="627764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ветодиодные однофазные треки</a:t>
            </a:r>
            <a:br>
              <a:rPr lang="ru-RU" dirty="0"/>
            </a:br>
            <a:r>
              <a:rPr lang="en-US" dirty="0"/>
              <a:t>ECO TRACKSPOT</a:t>
            </a:r>
            <a:endParaRPr lang="ru-RU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5508171" y="2446426"/>
          <a:ext cx="6167892" cy="379108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867344"/>
                <a:gridCol w="4300548"/>
              </a:tblGrid>
              <a:tr h="22300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u="none" strike="noStrike" dirty="0">
                          <a:effectLst/>
                        </a:rPr>
                        <a:t>EAN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dirty="0">
                          <a:effectLst/>
                        </a:rPr>
                        <a:t>Наименование продукта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298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5W 840 BKRD 40X1 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01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SP 1PH 5W 840 WTRD 40X1 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03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8W 840 BKRD 40X1 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3305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SP 1PH 8W 840 WTRD 40X1 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07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SP 1PH 10W 840 BKRD 4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3309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10W 840 WTRD 40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11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SP 1PH 12W 840 BKRD 3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13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12W 840 WTRD 30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3315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15W 840 BKRD 30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17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SP 1PH 15W 840 WTRD 3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19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SP 1PH 20W 840 BKRD 2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21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20W 840 WTRD 20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23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SP 1PH 25W 840 BKRD 2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25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25W 840 WTRD 20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27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30W 840 BKRD 20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22300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329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30W 840 WTRD 20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</a:tbl>
          </a:graphicData>
        </a:graphic>
      </p:graphicFrame>
      <p:pic>
        <p:nvPicPr>
          <p:cNvPr id="10" name="Рисунок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99614" y="1318969"/>
            <a:ext cx="1947584" cy="3279385"/>
          </a:xfrm>
          <a:prstGeom prst="rect">
            <a:avLst/>
          </a:prstGeom>
        </p:spPr>
      </p:pic>
      <p:pic>
        <p:nvPicPr>
          <p:cNvPr id="11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37" y="1318969"/>
            <a:ext cx="2043358" cy="3353997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15937" y="4841448"/>
            <a:ext cx="4821107" cy="1169551"/>
          </a:xfrm>
          <a:prstGeom prst="rect">
            <a:avLst/>
          </a:prstGeom>
          <a:solidFill>
            <a:srgbClr val="FFFFFF">
              <a:alpha val="54902"/>
            </a:srgb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Доступные мощности</a:t>
            </a:r>
            <a:r>
              <a:rPr lang="en-US" sz="1400" b="1" dirty="0"/>
              <a:t>: 5 / 8 / 12 / 15 / 20 / 25 / 30 W</a:t>
            </a:r>
            <a:endParaRPr lang="en-US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Безопасно для глаз: КП </a:t>
            </a:r>
            <a:r>
              <a:rPr lang="en-US" sz="1400" b="1" dirty="0"/>
              <a:t>&lt; 1%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Нейтральный свет 4000К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Не искажает цвета: </a:t>
            </a:r>
            <a:r>
              <a:rPr lang="en-US" sz="1400" b="1" dirty="0"/>
              <a:t>CRI</a:t>
            </a:r>
            <a:r>
              <a:rPr lang="ru-RU" sz="1400" b="1" dirty="0"/>
              <a:t> </a:t>
            </a:r>
            <a:r>
              <a:rPr lang="en-US" sz="1400" b="1" dirty="0"/>
              <a:t>&gt;80</a:t>
            </a:r>
            <a:endParaRPr lang="en-US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Черный или белый корпус </a:t>
            </a:r>
            <a:endParaRPr lang="ru-RU" sz="1400" b="1" dirty="0"/>
          </a:p>
        </p:txBody>
      </p:sp>
      <p:sp>
        <p:nvSpPr>
          <p:cNvPr id="15" name="Овал 19"/>
          <p:cNvSpPr/>
          <p:nvPr/>
        </p:nvSpPr>
        <p:spPr>
          <a:xfrm>
            <a:off x="6687007" y="1437599"/>
            <a:ext cx="617760" cy="617760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628297" y="1663145"/>
            <a:ext cx="753732" cy="2515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0K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Овал 22"/>
          <p:cNvSpPr/>
          <p:nvPr/>
        </p:nvSpPr>
        <p:spPr>
          <a:xfrm>
            <a:off x="7486037" y="1424205"/>
            <a:ext cx="617760" cy="61776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97541" y="1670384"/>
            <a:ext cx="606256" cy="2544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Рисунок 27"/>
          <p:cNvPicPr>
            <a:picLocks noChangeAspect="1"/>
          </p:cNvPicPr>
          <p:nvPr/>
        </p:nvPicPr>
        <p:blipFill rotWithShape="1">
          <a:blip r:embed="rId3"/>
          <a:srcRect l="9356" t="17829" r="17484" b="9789"/>
          <a:stretch>
            <a:fillRect/>
          </a:stretch>
        </p:blipFill>
        <p:spPr>
          <a:xfrm>
            <a:off x="8291508" y="1418033"/>
            <a:ext cx="627763" cy="627764"/>
          </a:xfrm>
          <a:prstGeom prst="rect">
            <a:avLst/>
          </a:prstGeom>
        </p:spPr>
      </p:pic>
      <p:sp>
        <p:nvSpPr>
          <p:cNvPr id="20" name="Oval 24"/>
          <p:cNvSpPr>
            <a:spLocks noChangeAspect="1"/>
          </p:cNvSpPr>
          <p:nvPr/>
        </p:nvSpPr>
        <p:spPr>
          <a:xfrm>
            <a:off x="9032753" y="1387893"/>
            <a:ext cx="720000" cy="720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kumimoji="0" lang="pl-PL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5"/>
          <p:cNvSpPr txBox="1"/>
          <p:nvPr/>
        </p:nvSpPr>
        <p:spPr>
          <a:xfrm>
            <a:off x="9032753" y="1527650"/>
            <a:ext cx="7521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Цветная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100" b="1" dirty="0">
                <a:solidFill>
                  <a:srgbClr val="FF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аковка</a:t>
            </a:r>
            <a:endParaRPr kumimoji="0" lang="pl-PL" sz="1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Oval 39"/>
          <p:cNvSpPr/>
          <p:nvPr/>
        </p:nvSpPr>
        <p:spPr>
          <a:xfrm>
            <a:off x="9944497" y="1370247"/>
            <a:ext cx="752128" cy="7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lvl="0" algn="ctr">
              <a:defRPr/>
            </a:pPr>
            <a:r>
              <a:rPr kumimoji="0" lang="en-US" sz="1400" b="1" i="0" u="none" strike="noStrike" kern="1200" cap="none" spc="0" normalizeH="0" baseline="0" noProof="0" dirty="0"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a &gt;</a:t>
            </a:r>
            <a:r>
              <a:rPr lang="ru-RU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en-US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endParaRPr kumimoji="0" lang="pl-PL" sz="1400" b="1" i="0" u="none" strike="noStrike" kern="1200" cap="none" spc="0" normalizeH="0" baseline="0" noProof="0" dirty="0"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3" name="Oval 33"/>
          <p:cNvSpPr/>
          <p:nvPr/>
        </p:nvSpPr>
        <p:spPr>
          <a:xfrm>
            <a:off x="10856240" y="1373435"/>
            <a:ext cx="720000" cy="728582"/>
          </a:xfrm>
          <a:prstGeom prst="ellipse">
            <a:avLst/>
          </a:prstGeom>
          <a:solidFill>
            <a:srgbClr val="00B0F0"/>
          </a:solidFill>
          <a:ln w="38100">
            <a:solidFill>
              <a:srgbClr val="FFE32C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6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0</a:t>
            </a:r>
            <a:endParaRPr kumimoji="0" lang="pl-PL" sz="1600" b="1" i="0" u="none" strike="noStrike" kern="1200" cap="none" spc="0" normalizeH="0" baseline="0" noProof="0" dirty="0"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м/Вт</a:t>
            </a:r>
            <a:endParaRPr kumimoji="0" lang="pl-PL" sz="1400" b="1" i="0" u="none" strike="noStrike" kern="1200" cap="none" spc="0" normalizeH="0" baseline="0" noProof="0" dirty="0"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oup 16"/>
          <p:cNvGrpSpPr/>
          <p:nvPr/>
        </p:nvGrpSpPr>
        <p:grpSpPr>
          <a:xfrm>
            <a:off x="5392390" y="1285649"/>
            <a:ext cx="1105317" cy="881668"/>
            <a:chOff x="6551113" y="427935"/>
            <a:chExt cx="902638" cy="720000"/>
          </a:xfrm>
        </p:grpSpPr>
        <p:sp>
          <p:nvSpPr>
            <p:cNvPr id="25" name="TextBox 24"/>
            <p:cNvSpPr txBox="1"/>
            <p:nvPr/>
          </p:nvSpPr>
          <p:spPr>
            <a:xfrm>
              <a:off x="6589412" y="583477"/>
              <a:ext cx="8643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pl-PL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150 W</a:t>
              </a:r>
              <a:endPara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551113" y="490732"/>
              <a:ext cx="8643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pl-PL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150 W</a:t>
              </a:r>
              <a:endPara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7" name="Oval 19"/>
            <p:cNvSpPr>
              <a:spLocks noChangeAspect="1"/>
            </p:cNvSpPr>
            <p:nvPr/>
          </p:nvSpPr>
          <p:spPr>
            <a:xfrm>
              <a:off x="6672247" y="427935"/>
              <a:ext cx="720000" cy="720000"/>
            </a:xfrm>
            <a:prstGeom prst="ellipse">
              <a:avLst/>
            </a:prstGeom>
            <a:solidFill>
              <a:srgbClr val="00B0F0"/>
            </a:solidFill>
            <a:ln w="38100">
              <a:solidFill>
                <a:schemeClr val="accent1"/>
              </a:solidFill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720428" y="583477"/>
              <a:ext cx="690067" cy="4272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450 ~ 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2700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лм</a:t>
              </a:r>
              <a:endPara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living room with a couch and a table&#10;&#10;Description automatically generated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43" b="36607"/>
          <a:stretch>
            <a:fillRect/>
          </a:stretch>
        </p:blipFill>
        <p:spPr>
          <a:xfrm>
            <a:off x="20" y="10"/>
            <a:ext cx="12191980" cy="6857990"/>
          </a:xfrm>
          <a:noFill/>
        </p:spPr>
      </p:pic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6096000" y="4398610"/>
          <a:ext cx="5749872" cy="202614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740787"/>
                <a:gridCol w="4009085"/>
              </a:tblGrid>
              <a:tr h="40522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u="none" strike="noStrike" dirty="0">
                          <a:effectLst/>
                        </a:rPr>
                        <a:t>EAN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dirty="0">
                          <a:effectLst/>
                        </a:rPr>
                        <a:t>Наименование продукта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</a:tr>
              <a:tr h="4052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4213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GU10 BKRD 80X1 RU  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</a:tr>
              <a:tr h="4052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4221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SP 1PH GU10 WTRD 80X1 RU  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</a:tr>
              <a:tr h="4052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4225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 dirty="0">
                          <a:effectLst/>
                        </a:rPr>
                        <a:t>ECO TRACKSP 1PH E27 BKCONE 40X1 RU LEDV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</a:tr>
              <a:tr h="4052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4227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 dirty="0">
                          <a:effectLst/>
                        </a:rPr>
                        <a:t>ECO TRACKSP 1PH E27 WTCONE 40X1 RU LEDV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0" y="4398610"/>
            <a:ext cx="5475514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800" dirty="0"/>
              <a:t>Самые популярные модели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4935003"/>
            <a:ext cx="5475514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ü"/>
              <a:defRPr/>
            </a:lvl1pPr>
          </a:lstStyle>
          <a:p>
            <a:r>
              <a:rPr lang="ru-RU" dirty="0"/>
              <a:t>Удобно заменять лампу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-5426" y="5495212"/>
            <a:ext cx="5439812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ü"/>
              <a:defRPr/>
            </a:lvl1pPr>
          </a:lstStyle>
          <a:p>
            <a:r>
              <a:rPr lang="ru-RU" dirty="0"/>
              <a:t>Металлический корпус 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-2688" y="6055421"/>
            <a:ext cx="5437074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ü"/>
              <a:defRPr/>
            </a:lvl1pPr>
          </a:lstStyle>
          <a:p>
            <a:r>
              <a:rPr lang="ru-RU" dirty="0"/>
              <a:t>Доступная цена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-10886" y="3537586"/>
            <a:ext cx="5475514" cy="646331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/>
          <a:p>
            <a:pPr marL="228600"/>
            <a:r>
              <a:rPr lang="ru-RU" sz="1800" b="1" dirty="0">
                <a:solidFill>
                  <a:schemeClr val="accent1"/>
                </a:solidFill>
              </a:rPr>
              <a:t>Трековые светильник под лампу с цоколем GU10 и Е27</a:t>
            </a:r>
            <a:endParaRPr lang="ru-RU" sz="1800" b="1" dirty="0">
              <a:solidFill>
                <a:schemeClr val="accent1"/>
              </a:solidFill>
            </a:endParaRPr>
          </a:p>
        </p:txBody>
      </p:sp>
      <p:sp>
        <p:nvSpPr>
          <p:cNvPr id="14" name="Овал 22"/>
          <p:cNvSpPr/>
          <p:nvPr/>
        </p:nvSpPr>
        <p:spPr>
          <a:xfrm>
            <a:off x="3165783" y="2721945"/>
            <a:ext cx="617760" cy="61776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Рисунок 27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1277" b="84043" l="11828" r="75269">
                        <a14:foregroundMark x1="21505" y1="22340" x2="62366" y2="72340"/>
                        <a14:foregroundMark x1="62366" y1="72340" x2="65591" y2="78723"/>
                        <a14:foregroundMark x1="76344" y1="28723" x2="35484" y2="74468"/>
                        <a14:foregroundMark x1="35484" y1="74468" x2="19355" y2="79787"/>
                        <a14:foregroundMark x1="15054" y1="42553" x2="27957" y2="77660"/>
                        <a14:foregroundMark x1="27957" y1="30851" x2="65591" y2="27660"/>
                        <a14:foregroundMark x1="74194" y1="48936" x2="74194" y2="72340"/>
                        <a14:foregroundMark x1="69892" y1="79787" x2="25806" y2="79787"/>
                        <a14:foregroundMark x1="18280" y1="79787" x2="12903" y2="65957"/>
                        <a14:foregroundMark x1="15054" y1="84043" x2="70968" y2="76596"/>
                      </a14:backgroundRemoval>
                    </a14:imgEffect>
                  </a14:imgLayer>
                </a14:imgProps>
              </a:ext>
            </a:extLst>
          </a:blip>
          <a:srcRect l="9356" t="17829" r="17484" b="9789"/>
          <a:stretch>
            <a:fillRect/>
          </a:stretch>
        </p:blipFill>
        <p:spPr>
          <a:xfrm>
            <a:off x="3971254" y="2715773"/>
            <a:ext cx="627763" cy="627764"/>
          </a:xfrm>
          <a:prstGeom prst="rect">
            <a:avLst/>
          </a:prstGeom>
        </p:spPr>
      </p:pic>
      <p:sp>
        <p:nvSpPr>
          <p:cNvPr id="16" name="Oval 24"/>
          <p:cNvSpPr>
            <a:spLocks noChangeAspect="1"/>
          </p:cNvSpPr>
          <p:nvPr/>
        </p:nvSpPr>
        <p:spPr>
          <a:xfrm>
            <a:off x="4712499" y="2684219"/>
            <a:ext cx="720000" cy="720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kumimoji="0" lang="pl-PL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25"/>
          <p:cNvSpPr txBox="1"/>
          <p:nvPr/>
        </p:nvSpPr>
        <p:spPr>
          <a:xfrm>
            <a:off x="4723385" y="2825390"/>
            <a:ext cx="7521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Цветная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100" b="1" dirty="0">
                <a:solidFill>
                  <a:srgbClr val="FF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аковка</a:t>
            </a:r>
            <a:endParaRPr kumimoji="0" lang="pl-PL" sz="1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177287" y="2946319"/>
            <a:ext cx="606256" cy="2544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图片 7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559" b="95745" l="9023" r="89850">
                        <a14:foregroundMark x1="50000" y1="9726" x2="24436" y2="13070"/>
                        <a14:foregroundMark x1="24436" y1="13070" x2="35714" y2="8815"/>
                        <a14:foregroundMark x1="24436" y1="8815" x2="19549" y2="9726"/>
                        <a14:foregroundMark x1="47744" y1="60790" x2="66541" y2="74164"/>
                        <a14:foregroundMark x1="66541" y1="74164" x2="65414" y2="69605"/>
                        <a14:foregroundMark x1="59023" y1="93313" x2="45865" y2="84802"/>
                        <a14:foregroundMark x1="13158" y1="58359" x2="19549" y2="33131"/>
                        <a14:foregroundMark x1="19549" y1="33131" x2="16165" y2="20365"/>
                        <a14:foregroundMark x1="12782" y1="26748" x2="12782" y2="55015"/>
                        <a14:foregroundMark x1="16917" y1="9422" x2="32707" y2="10638"/>
                        <a14:foregroundMark x1="51504" y1="4863" x2="18421" y2="6383"/>
                        <a14:foregroundMark x1="55263" y1="95745" x2="48872" y2="95745"/>
                        <a14:foregroundMark x1="26316" y1="6687" x2="15038" y2="8815"/>
                        <a14:foregroundMark x1="14286" y1="22796" x2="10526" y2="294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7201" y="1204107"/>
            <a:ext cx="1730828" cy="204436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" name="Рисунок 21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062" b="95232" l="9864" r="93878">
                        <a14:foregroundMark x1="32143" y1="85825" x2="38946" y2="75902"/>
                        <a14:foregroundMark x1="58163" y1="2062" x2="54252" y2="14433"/>
                        <a14:foregroundMark x1="93878" y1="2835" x2="83297" y2="5801"/>
                        <a14:foregroundMark x1="29932" y1="69845" x2="46429" y2="86082"/>
                        <a14:foregroundMark x1="46429" y1="86082" x2="38946" y2="73711"/>
                        <a14:foregroundMark x1="34354" y1="71649" x2="51361" y2="77191"/>
                        <a14:foregroundMark x1="39456" y1="75515" x2="16837" y2="82345"/>
                        <a14:foregroundMark x1="19048" y1="85825" x2="38435" y2="92268"/>
                        <a14:foregroundMark x1="52041" y1="86211" x2="38946" y2="95232"/>
                        <a14:backgroundMark x1="74150" y1="8505" x2="82653" y2="67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98915" y="1262973"/>
            <a:ext cx="1448009" cy="191097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8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1"/>
          <a:srcRect l="21227" t="825" b="825"/>
          <a:stretch>
            <a:fillRect/>
          </a:stretch>
        </p:blipFill>
        <p:spPr>
          <a:xfrm>
            <a:off x="0" y="0"/>
            <a:ext cx="9603938" cy="6858000"/>
          </a:xfrm>
          <a:prstGeom prst="rect">
            <a:avLst/>
          </a:prstGeom>
        </p:spPr>
      </p:pic>
      <p:pic>
        <p:nvPicPr>
          <p:cNvPr id="4" name="Рисунок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5877" y="0"/>
            <a:ext cx="5176123" cy="6858000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520543" y="4371488"/>
          <a:ext cx="5217319" cy="2026143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579555"/>
                <a:gridCol w="3637764"/>
              </a:tblGrid>
              <a:tr h="30860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u="none" strike="noStrike" dirty="0">
                          <a:effectLst/>
                        </a:rPr>
                        <a:t>EAN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dirty="0">
                          <a:effectLst/>
                        </a:rPr>
                        <a:t>Наименование продукта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</a:tr>
              <a:tr h="57251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768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PENDTRACKSP 1PHGU10 BKRD 36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</a:tr>
              <a:tr h="57251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770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PENDTRACKSP 1PHGU10 WTRD 36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</a:tr>
              <a:tr h="57251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3145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PENDTRACKSP 1PH E27 BKDD 18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Овал 22"/>
          <p:cNvSpPr/>
          <p:nvPr/>
        </p:nvSpPr>
        <p:spPr>
          <a:xfrm>
            <a:off x="9276025" y="3466726"/>
            <a:ext cx="617760" cy="61776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287529" y="3691100"/>
            <a:ext cx="606256" cy="2544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Рисунок 27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1277" b="84043" l="11828" r="75269">
                        <a14:foregroundMark x1="21505" y1="22340" x2="62366" y2="72340"/>
                        <a14:foregroundMark x1="62366" y1="72340" x2="65591" y2="78723"/>
                        <a14:foregroundMark x1="76344" y1="28723" x2="35484" y2="74468"/>
                        <a14:foregroundMark x1="35484" y1="74468" x2="19355" y2="79787"/>
                        <a14:foregroundMark x1="15054" y1="42553" x2="27957" y2="77660"/>
                        <a14:foregroundMark x1="27957" y1="30851" x2="65591" y2="27660"/>
                        <a14:foregroundMark x1="74194" y1="48936" x2="74194" y2="72340"/>
                        <a14:foregroundMark x1="69892" y1="79787" x2="25806" y2="79787"/>
                        <a14:foregroundMark x1="18280" y1="79787" x2="12903" y2="65957"/>
                        <a14:foregroundMark x1="15054" y1="84043" x2="70968" y2="76596"/>
                      </a14:backgroundRemoval>
                    </a14:imgEffect>
                  </a14:imgLayer>
                </a14:imgProps>
              </a:ext>
            </a:extLst>
          </a:blip>
          <a:srcRect l="9356" t="17829" r="17484" b="9789"/>
          <a:stretch>
            <a:fillRect/>
          </a:stretch>
        </p:blipFill>
        <p:spPr>
          <a:xfrm>
            <a:off x="10081496" y="3460554"/>
            <a:ext cx="627763" cy="627764"/>
          </a:xfrm>
          <a:prstGeom prst="rect">
            <a:avLst/>
          </a:prstGeom>
        </p:spPr>
      </p:pic>
      <p:sp>
        <p:nvSpPr>
          <p:cNvPr id="9" name="Oval 24"/>
          <p:cNvSpPr>
            <a:spLocks noChangeAspect="1"/>
          </p:cNvSpPr>
          <p:nvPr/>
        </p:nvSpPr>
        <p:spPr>
          <a:xfrm>
            <a:off x="10822741" y="3429000"/>
            <a:ext cx="720000" cy="720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kumimoji="0" lang="pl-PL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25"/>
          <p:cNvSpPr txBox="1"/>
          <p:nvPr/>
        </p:nvSpPr>
        <p:spPr>
          <a:xfrm>
            <a:off x="10833627" y="3570171"/>
            <a:ext cx="7521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Цветная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100" b="1" dirty="0">
                <a:solidFill>
                  <a:srgbClr val="FF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аковка</a:t>
            </a:r>
            <a:endParaRPr kumimoji="0" lang="pl-PL" sz="1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88" y="4371488"/>
            <a:ext cx="5475514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800" dirty="0"/>
              <a:t>Самые популярные модели</a:t>
            </a:r>
            <a:endParaRPr lang="ru-RU" sz="1800" dirty="0"/>
          </a:p>
        </p:txBody>
      </p:sp>
      <p:sp>
        <p:nvSpPr>
          <p:cNvPr id="14" name="TextBox 13"/>
          <p:cNvSpPr txBox="1"/>
          <p:nvPr/>
        </p:nvSpPr>
        <p:spPr>
          <a:xfrm>
            <a:off x="2688" y="4907881"/>
            <a:ext cx="5475514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ü"/>
              <a:defRPr/>
            </a:lvl1pPr>
          </a:lstStyle>
          <a:p>
            <a:r>
              <a:rPr lang="ru-RU" dirty="0"/>
              <a:t>Удобно заменять лампу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-2738" y="5468090"/>
            <a:ext cx="5439812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ü"/>
              <a:defRPr/>
            </a:lvl1pPr>
          </a:lstStyle>
          <a:p>
            <a:r>
              <a:rPr lang="ru-RU" dirty="0"/>
              <a:t>Металлический корпус 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0" y="6028299"/>
            <a:ext cx="5437074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ü"/>
              <a:defRPr/>
            </a:lvl1pPr>
          </a:lstStyle>
          <a:p>
            <a:r>
              <a:rPr lang="ru-RU" dirty="0"/>
              <a:t>Доступная цена</a:t>
            </a: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-10886" y="3537586"/>
            <a:ext cx="5475514" cy="646331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/>
          <a:p>
            <a:pPr marL="228600"/>
            <a:r>
              <a:rPr lang="ru-RU" sz="1800" b="1" dirty="0">
                <a:solidFill>
                  <a:schemeClr val="accent1"/>
                </a:solidFill>
              </a:rPr>
              <a:t>Подвесные модели под лампу с цоколем </a:t>
            </a:r>
            <a:r>
              <a:rPr lang="en-US" sz="1800" b="1" dirty="0">
                <a:solidFill>
                  <a:schemeClr val="accent1"/>
                </a:solidFill>
              </a:rPr>
              <a:t>GU10 </a:t>
            </a:r>
            <a:r>
              <a:rPr lang="ru-RU" sz="1800" b="1" dirty="0">
                <a:solidFill>
                  <a:schemeClr val="accent1"/>
                </a:solidFill>
              </a:rPr>
              <a:t>или Е27</a:t>
            </a:r>
            <a:endParaRPr lang="ru-RU" sz="18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room with a large area of furniture&#10;&#10;Description automatically generated with medium confidence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03" b="4240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>
            <a:off x="-1" y="3862195"/>
            <a:ext cx="5712347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800" dirty="0"/>
              <a:t>Яркая красочная упаковка на русском языке</a:t>
            </a:r>
            <a:endParaRPr lang="ru-RU" sz="1800" dirty="0"/>
          </a:p>
        </p:txBody>
      </p:sp>
      <p:sp>
        <p:nvSpPr>
          <p:cNvPr id="22" name="TextBox 21"/>
          <p:cNvSpPr txBox="1"/>
          <p:nvPr/>
        </p:nvSpPr>
        <p:spPr>
          <a:xfrm>
            <a:off x="0" y="4416193"/>
            <a:ext cx="5712346" cy="646331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800" dirty="0"/>
              <a:t>Дублирующие информативные символы на упаковке</a:t>
            </a:r>
            <a:endParaRPr lang="ru-RU" sz="1800" dirty="0"/>
          </a:p>
        </p:txBody>
      </p:sp>
      <p:sp>
        <p:nvSpPr>
          <p:cNvPr id="23" name="TextBox 22"/>
          <p:cNvSpPr txBox="1"/>
          <p:nvPr/>
        </p:nvSpPr>
        <p:spPr>
          <a:xfrm>
            <a:off x="0" y="5247190"/>
            <a:ext cx="5712346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800" dirty="0"/>
              <a:t>Привлекает внимание на полке</a:t>
            </a:r>
            <a:endParaRPr lang="ru-RU" sz="1800" dirty="0"/>
          </a:p>
        </p:txBody>
      </p:sp>
      <p:pic>
        <p:nvPicPr>
          <p:cNvPr id="24" name="Рисунок 12"/>
          <p:cNvPicPr>
            <a:picLocks noChangeAspect="1"/>
          </p:cNvPicPr>
          <p:nvPr/>
        </p:nvPicPr>
        <p:blipFill rotWithShape="1">
          <a:blip r:embed="rId2"/>
          <a:srcRect r="59250"/>
          <a:stretch>
            <a:fillRect/>
          </a:stretch>
        </p:blipFill>
        <p:spPr>
          <a:xfrm>
            <a:off x="228474" y="1641839"/>
            <a:ext cx="1617188" cy="1959641"/>
          </a:xfrm>
          <a:prstGeom prst="rect">
            <a:avLst/>
          </a:prstGeom>
        </p:spPr>
      </p:pic>
      <p:pic>
        <p:nvPicPr>
          <p:cNvPr id="25" name="Рисунок 3"/>
          <p:cNvPicPr>
            <a:picLocks noChangeAspect="1"/>
          </p:cNvPicPr>
          <p:nvPr/>
        </p:nvPicPr>
        <p:blipFill rotWithShape="1">
          <a:blip r:embed="rId3"/>
          <a:srcRect l="31846" r="33014" b="2505"/>
          <a:stretch>
            <a:fillRect/>
          </a:stretch>
        </p:blipFill>
        <p:spPr>
          <a:xfrm>
            <a:off x="4667317" y="1656962"/>
            <a:ext cx="1045030" cy="1958201"/>
          </a:xfrm>
          <a:prstGeom prst="rect">
            <a:avLst/>
          </a:prstGeom>
        </p:spPr>
      </p:pic>
      <p:pic>
        <p:nvPicPr>
          <p:cNvPr id="26" name="Рисунок 9"/>
          <p:cNvPicPr>
            <a:picLocks noChangeAspect="1"/>
          </p:cNvPicPr>
          <p:nvPr/>
        </p:nvPicPr>
        <p:blipFill rotWithShape="1">
          <a:blip r:embed="rId4"/>
          <a:srcRect l="31667" r="30544" b="1543"/>
          <a:stretch>
            <a:fillRect/>
          </a:stretch>
        </p:blipFill>
        <p:spPr>
          <a:xfrm>
            <a:off x="3244156" y="1656962"/>
            <a:ext cx="771744" cy="1958201"/>
          </a:xfrm>
          <a:prstGeom prst="rect">
            <a:avLst/>
          </a:prstGeom>
        </p:spPr>
      </p:pic>
      <p:pic>
        <p:nvPicPr>
          <p:cNvPr id="27" name="Рисунок 9"/>
          <p:cNvPicPr>
            <a:picLocks noChangeAspect="1"/>
          </p:cNvPicPr>
          <p:nvPr/>
        </p:nvPicPr>
        <p:blipFill rotWithShape="1">
          <a:blip r:embed="rId5"/>
          <a:srcRect l="32977" r="33276"/>
          <a:stretch>
            <a:fillRect/>
          </a:stretch>
        </p:blipFill>
        <p:spPr>
          <a:xfrm>
            <a:off x="4039224" y="1626271"/>
            <a:ext cx="604769" cy="1988892"/>
          </a:xfrm>
          <a:prstGeom prst="rect">
            <a:avLst/>
          </a:prstGeom>
        </p:spPr>
      </p:pic>
      <p:pic>
        <p:nvPicPr>
          <p:cNvPr id="28" name="Рисунок 11"/>
          <p:cNvPicPr>
            <a:picLocks noChangeAspect="1"/>
          </p:cNvPicPr>
          <p:nvPr/>
        </p:nvPicPr>
        <p:blipFill rotWithShape="1">
          <a:blip r:embed="rId6"/>
          <a:srcRect r="49132"/>
          <a:stretch>
            <a:fillRect/>
          </a:stretch>
        </p:blipFill>
        <p:spPr>
          <a:xfrm>
            <a:off x="1876838" y="1588204"/>
            <a:ext cx="1343994" cy="2013276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/>
          <p:cNvSpPr>
            <a:spLocks noGrp="1"/>
          </p:cNvSpPr>
          <p:nvPr>
            <p:ph type="title"/>
          </p:nvPr>
        </p:nvSpPr>
        <p:spPr>
          <a:xfrm>
            <a:off x="479425" y="1046485"/>
            <a:ext cx="9540876" cy="294953"/>
          </a:xfrm>
        </p:spPr>
        <p:txBody>
          <a:bodyPr/>
          <a:lstStyle/>
          <a:p>
            <a:r>
              <a:rPr lang="ru-RU" dirty="0"/>
              <a:t>Трековые аксессуары </a:t>
            </a:r>
            <a:r>
              <a:rPr lang="en-US" dirty="0"/>
              <a:t>LEDVANCE</a:t>
            </a:r>
            <a:endParaRPr lang="ru-RU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27" name="Picture Placeholder 26"/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28" name="Picture Placeholder 27"/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29" name="Picture Placeholder 28"/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30" name="Picture Placeholder 29"/>
          <p:cNvSpPr>
            <a:spLocks noGrp="1"/>
          </p:cNvSpPr>
          <p:nvPr>
            <p:ph type="pic" sz="quarter" idx="28"/>
          </p:nvPr>
        </p:nvSpPr>
        <p:spPr/>
      </p:sp>
      <p:sp>
        <p:nvSpPr>
          <p:cNvPr id="31" name="Picture Placeholder 30"/>
          <p:cNvSpPr>
            <a:spLocks noGrp="1"/>
          </p:cNvSpPr>
          <p:nvPr>
            <p:ph type="pic" sz="quarter" idx="29"/>
          </p:nvPr>
        </p:nvSpPr>
        <p:spPr/>
      </p:sp>
      <p:sp>
        <p:nvSpPr>
          <p:cNvPr id="32" name="Picture Placeholder 31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33" name="Picture Placeholder 32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4" name="Text Placeholder 3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Трековые шинопроводы </a:t>
            </a:r>
            <a:endParaRPr lang="ru-RU" dirty="0">
              <a:solidFill>
                <a:schemeClr val="tx1"/>
              </a:solidFill>
            </a:endParaRPr>
          </a:p>
          <a:p>
            <a:pPr algn="ctr"/>
            <a:r>
              <a:rPr lang="ru-RU" dirty="0">
                <a:solidFill>
                  <a:schemeClr val="tx1"/>
                </a:solidFill>
              </a:rPr>
              <a:t>1 и 2 м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Адаптеры подключени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Заглушк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Жесткие коннекторы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Комплект подвесов для монтажа шинопровод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Адаптеры подключения с евроштепселем</a:t>
            </a:r>
            <a:endParaRPr lang="ru-RU" dirty="0">
              <a:solidFill>
                <a:schemeClr val="tx1"/>
              </a:solidFill>
            </a:endParaRPr>
          </a:p>
          <a:p>
            <a:endParaRPr lang="ru-RU" dirty="0"/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Адаптеры подключения светильников</a:t>
            </a:r>
            <a:endParaRPr lang="ru-RU" dirty="0">
              <a:solidFill>
                <a:schemeClr val="tx1"/>
              </a:solidFill>
            </a:endParaRPr>
          </a:p>
          <a:p>
            <a:endParaRPr lang="ru-RU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Гибкие коннекторы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42" name="Рисунок 1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57183" y="1704230"/>
            <a:ext cx="1677673" cy="1370291"/>
          </a:xfrm>
          <a:prstGeom prst="rect">
            <a:avLst/>
          </a:prstGeom>
        </p:spPr>
      </p:pic>
      <p:pic>
        <p:nvPicPr>
          <p:cNvPr id="43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6082" y="2547256"/>
            <a:ext cx="1564350" cy="1205230"/>
          </a:xfrm>
          <a:prstGeom prst="rect">
            <a:avLst/>
          </a:prstGeom>
        </p:spPr>
      </p:pic>
      <p:pic>
        <p:nvPicPr>
          <p:cNvPr id="44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6219" y="1906046"/>
            <a:ext cx="1198290" cy="1337896"/>
          </a:xfrm>
          <a:prstGeom prst="rect">
            <a:avLst/>
          </a:prstGeom>
        </p:spPr>
      </p:pic>
      <p:pic>
        <p:nvPicPr>
          <p:cNvPr id="45" name="Рисунок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1125" y="2436273"/>
            <a:ext cx="1210578" cy="1206323"/>
          </a:xfrm>
          <a:prstGeom prst="rect">
            <a:avLst/>
          </a:prstGeom>
        </p:spPr>
      </p:pic>
      <p:pic>
        <p:nvPicPr>
          <p:cNvPr id="46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8768" y="2160883"/>
            <a:ext cx="1350758" cy="1142047"/>
          </a:xfrm>
          <a:prstGeom prst="rect">
            <a:avLst/>
          </a:prstGeom>
        </p:spPr>
      </p:pic>
      <p:pic>
        <p:nvPicPr>
          <p:cNvPr id="47" name="Рисунок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43734" y="2496779"/>
            <a:ext cx="1246357" cy="1257348"/>
          </a:xfrm>
          <a:prstGeom prst="rect">
            <a:avLst/>
          </a:prstGeom>
        </p:spPr>
      </p:pic>
      <p:pic>
        <p:nvPicPr>
          <p:cNvPr id="48" name="Picture 1" descr="Picture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4557" y="1913266"/>
            <a:ext cx="972312" cy="775031"/>
          </a:xfrm>
          <a:prstGeom prst="rect">
            <a:avLst/>
          </a:prstGeom>
        </p:spPr>
      </p:pic>
      <p:pic>
        <p:nvPicPr>
          <p:cNvPr id="49" name="Picture 1" descr="Pictur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49801" y="2938225"/>
            <a:ext cx="946770" cy="754672"/>
          </a:xfrm>
          <a:prstGeom prst="rect">
            <a:avLst/>
          </a:prstGeom>
        </p:spPr>
      </p:pic>
      <p:pic>
        <p:nvPicPr>
          <p:cNvPr id="50" name="Picture 1" descr="Picture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90006" y="1946854"/>
            <a:ext cx="972311" cy="775031"/>
          </a:xfrm>
          <a:prstGeom prst="rect">
            <a:avLst/>
          </a:prstGeom>
        </p:spPr>
      </p:pic>
      <p:pic>
        <p:nvPicPr>
          <p:cNvPr id="51" name="Picture 1" descr="Picture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217863" y="2904421"/>
            <a:ext cx="972311" cy="775031"/>
          </a:xfrm>
          <a:prstGeom prst="rect">
            <a:avLst/>
          </a:prstGeom>
        </p:spPr>
      </p:pic>
      <p:pic>
        <p:nvPicPr>
          <p:cNvPr id="52" name="Picture 1" descr="Picture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204351" y="1925024"/>
            <a:ext cx="972312" cy="775031"/>
          </a:xfrm>
          <a:prstGeom prst="rect">
            <a:avLst/>
          </a:prstGeom>
        </p:spPr>
      </p:pic>
      <p:pic>
        <p:nvPicPr>
          <p:cNvPr id="53" name="Picture 1" descr="Picture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89314" y="2927555"/>
            <a:ext cx="946770" cy="754672"/>
          </a:xfrm>
          <a:prstGeom prst="rect">
            <a:avLst/>
          </a:prstGeom>
        </p:spPr>
      </p:pic>
      <p:pic>
        <p:nvPicPr>
          <p:cNvPr id="54" name="Picture 1" descr="Picture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91573" y="4560173"/>
            <a:ext cx="1161799" cy="926072"/>
          </a:xfrm>
          <a:prstGeom prst="rect">
            <a:avLst/>
          </a:prstGeom>
        </p:spPr>
      </p:pic>
      <p:pic>
        <p:nvPicPr>
          <p:cNvPr id="55" name="Picture 1" descr="Picture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67018" y="4885237"/>
            <a:ext cx="1306589" cy="1041483"/>
          </a:xfrm>
          <a:prstGeom prst="rect">
            <a:avLst/>
          </a:prstGeom>
        </p:spPr>
      </p:pic>
      <p:pic>
        <p:nvPicPr>
          <p:cNvPr id="56" name="Picture 1" descr="Picture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89106" y="4359420"/>
            <a:ext cx="1278519" cy="1046559"/>
          </a:xfrm>
          <a:prstGeom prst="rect">
            <a:avLst/>
          </a:prstGeom>
        </p:spPr>
      </p:pic>
      <p:pic>
        <p:nvPicPr>
          <p:cNvPr id="57" name="Picture 1" descr="Picture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26786" y="4853431"/>
            <a:ext cx="1219389" cy="971977"/>
          </a:xfrm>
          <a:prstGeom prst="rect">
            <a:avLst/>
          </a:prstGeom>
        </p:spPr>
      </p:pic>
      <p:pic>
        <p:nvPicPr>
          <p:cNvPr id="58" name="Picture 1" descr="Picture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406315" y="5110187"/>
            <a:ext cx="858044" cy="683948"/>
          </a:xfrm>
          <a:prstGeom prst="rect">
            <a:avLst/>
          </a:prstGeom>
        </p:spPr>
      </p:pic>
      <p:pic>
        <p:nvPicPr>
          <p:cNvPr id="59" name="Picture 1" descr="Picture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873424" y="5102462"/>
            <a:ext cx="877428" cy="699399"/>
          </a:xfrm>
          <a:prstGeom prst="rect">
            <a:avLst/>
          </a:prstGeom>
        </p:spPr>
      </p:pic>
      <p:pic>
        <p:nvPicPr>
          <p:cNvPr id="60" name="Picture 1" descr="Picture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377999" y="4349941"/>
            <a:ext cx="926368" cy="738409"/>
          </a:xfrm>
          <a:prstGeom prst="rect">
            <a:avLst/>
          </a:prstGeom>
        </p:spPr>
      </p:pic>
      <p:pic>
        <p:nvPicPr>
          <p:cNvPr id="61" name="Picture 1" descr="Picture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872991" y="4364270"/>
            <a:ext cx="877861" cy="699744"/>
          </a:xfrm>
          <a:prstGeom prst="rect">
            <a:avLst/>
          </a:prstGeom>
        </p:spPr>
      </p:pic>
      <p:pic>
        <p:nvPicPr>
          <p:cNvPr id="62" name="Picture 1" descr="Picture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370129" y="4357263"/>
            <a:ext cx="1213594" cy="967358"/>
          </a:xfrm>
          <a:prstGeom prst="rect">
            <a:avLst/>
          </a:prstGeom>
        </p:spPr>
      </p:pic>
      <p:pic>
        <p:nvPicPr>
          <p:cNvPr id="63" name="Picture 1" descr="Picture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706940" y="4934023"/>
            <a:ext cx="1334136" cy="1063442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Placeholder 19" descr="A bed in a room&#10;&#10;Description automatically generated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90" b="28660"/>
          <a:stretch>
            <a:fillRect/>
          </a:stretch>
        </p:blipFill>
        <p:spPr>
          <a:xfrm>
            <a:off x="0" y="0"/>
            <a:ext cx="12192000" cy="6858000"/>
          </a:xfrm>
        </p:spPr>
      </p:pic>
      <p:graphicFrame>
        <p:nvGraphicFramePr>
          <p:cNvPr id="21" name="Table 20"/>
          <p:cNvGraphicFramePr>
            <a:graphicFrameLocks noGrp="1"/>
          </p:cNvGraphicFramePr>
          <p:nvPr/>
        </p:nvGraphicFramePr>
        <p:xfrm>
          <a:off x="5952352" y="1864410"/>
          <a:ext cx="5839010" cy="4449313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786439"/>
                <a:gridCol w="4052571"/>
              </a:tblGrid>
              <a:tr h="2430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EAN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Наименование продукта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ctr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610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 1PH 1M BK 20X1 RU    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612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 1PH 1M WH 20X1 RU    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14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 1PH 2M BK 10X1 RU    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16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 1PH 2M WH 10X1 RU    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1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SUPPLY C BK 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62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SUPPLY C WH 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22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END CAP BK 10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24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END CAP WH 10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26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I CONNECT BK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628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I CONNECT WH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30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L CONNECT BK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32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L CONNECT WH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34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T CONNECT BK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36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T CONNECT WH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638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FXCONNECT BK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4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FXCONNECT WH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42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FLAT ADPT BK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44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FLAT ADPT WH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48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CUBE ADPT BK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09985425652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CUBE ADPT WH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656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TRACKRAIL1PH PLUGCONNECTBK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662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TRACKRAIL1PH PLUGCONNECTWH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664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CO TRACKRAIL1PH SUSP SET BK 50X1RULED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  <a:tr h="1752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09985425666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CO TRACKRAIL1PH SUSP SET WH 50X1RULED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71" marR="6071" marT="6071" marB="0" anchor="b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0" y="1864410"/>
            <a:ext cx="5475514" cy="369332"/>
          </a:xfrm>
          <a:prstGeom prst="rect">
            <a:avLst/>
          </a:prstGeom>
          <a:solidFill>
            <a:srgbClr val="FFFFFF">
              <a:alpha val="76863"/>
            </a:srgbClr>
          </a:solidFill>
        </p:spPr>
        <p:txBody>
          <a:bodyPr wrap="square">
            <a:spAutoFit/>
          </a:bodyPr>
          <a:lstStyle/>
          <a:p>
            <a:pPr marL="228600"/>
            <a:r>
              <a:rPr lang="ru-RU" sz="1800" b="1" dirty="0">
                <a:solidFill>
                  <a:schemeClr val="accent1"/>
                </a:solidFill>
              </a:rPr>
              <a:t>Аксессуары</a:t>
            </a:r>
            <a:endParaRPr lang="ru-RU" sz="1800" b="1" dirty="0">
              <a:solidFill>
                <a:schemeClr val="accent1"/>
              </a:solidFill>
            </a:endParaRPr>
          </a:p>
        </p:txBody>
      </p:sp>
      <p:sp>
        <p:nvSpPr>
          <p:cNvPr id="24" name="Овал 22"/>
          <p:cNvSpPr/>
          <p:nvPr/>
        </p:nvSpPr>
        <p:spPr>
          <a:xfrm>
            <a:off x="2429822" y="2393322"/>
            <a:ext cx="734576" cy="734576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357086" y="2681893"/>
            <a:ext cx="880048" cy="26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20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val 24"/>
          <p:cNvSpPr>
            <a:spLocks noChangeAspect="1"/>
          </p:cNvSpPr>
          <p:nvPr/>
        </p:nvSpPr>
        <p:spPr>
          <a:xfrm>
            <a:off x="4629933" y="2316785"/>
            <a:ext cx="811113" cy="8111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kumimoji="0" lang="pl-PL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5"/>
          <p:cNvSpPr txBox="1"/>
          <p:nvPr/>
        </p:nvSpPr>
        <p:spPr>
          <a:xfrm>
            <a:off x="4681617" y="2506897"/>
            <a:ext cx="7521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Цветная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100" b="1" dirty="0">
                <a:solidFill>
                  <a:srgbClr val="FF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аковка</a:t>
            </a:r>
            <a:endParaRPr kumimoji="0" lang="pl-PL" sz="1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8" name="Рисунок 1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8696" b="88406" l="5714" r="91429">
                        <a14:foregroundMark x1="52857" y1="13043" x2="68571" y2="14493"/>
                        <a14:foregroundMark x1="91429" y1="65217" x2="88571" y2="53623"/>
                        <a14:foregroundMark x1="57143" y1="13043" x2="51429" y2="63768"/>
                        <a14:foregroundMark x1="70000" y1="63768" x2="38457" y2="57368"/>
                        <a14:foregroundMark x1="38571" y1="85507" x2="64286" y2="71014"/>
                        <a14:backgroundMark x1="0" y1="33333" x2="2857" y2="695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6891" y="2339481"/>
            <a:ext cx="822868" cy="811113"/>
          </a:xfrm>
          <a:prstGeom prst="rect">
            <a:avLst/>
          </a:prstGeom>
        </p:spPr>
      </p:pic>
      <p:pic>
        <p:nvPicPr>
          <p:cNvPr id="30" name="Рисунок 14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644" b="95597" l="2055" r="98630">
                        <a14:foregroundMark x1="98801" y1="23480" x2="86986" y2="32914"/>
                        <a14:foregroundMark x1="19521" y1="82180" x2="2055" y2="9559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60409" y="2814974"/>
            <a:ext cx="2353360" cy="1922179"/>
          </a:xfrm>
          <a:prstGeom prst="rect">
            <a:avLst/>
          </a:prstGeom>
        </p:spPr>
      </p:pic>
      <p:pic>
        <p:nvPicPr>
          <p:cNvPr id="31" name="Рисунок 21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826" b="96174" l="3495" r="94757">
                        <a14:foregroundMark x1="50680" y1="67826" x2="25437" y2="90609"/>
                        <a14:foregroundMark x1="25437" y1="90609" x2="31650" y2="65043"/>
                        <a14:foregroundMark x1="14563" y1="88870" x2="18447" y2="80870"/>
                        <a14:foregroundMark x1="27184" y1="96174" x2="7573" y2="88348"/>
                        <a14:foregroundMark x1="3883" y1="87652" x2="8932" y2="81565"/>
                        <a14:foregroundMark x1="89126" y1="18087" x2="66408" y2="23130"/>
                        <a14:foregroundMark x1="94951" y1="18609" x2="66214" y2="14435"/>
                        <a14:foregroundMark x1="66214" y1="14435" x2="41165" y2="44174"/>
                        <a14:foregroundMark x1="66990" y1="3826" x2="80388" y2="852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00944" y="3329873"/>
            <a:ext cx="1089111" cy="1215997"/>
          </a:xfrm>
          <a:prstGeom prst="rect">
            <a:avLst/>
          </a:prstGeom>
        </p:spPr>
      </p:pic>
      <p:pic>
        <p:nvPicPr>
          <p:cNvPr id="32" name="Рисунок 29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107" b="92608" l="5903" r="96181">
                        <a14:foregroundMark x1="34896" y1="45175" x2="31771" y2="90554"/>
                        <a14:foregroundMark x1="31771" y1="90554" x2="28472" y2="92813"/>
                        <a14:foregroundMark x1="27778" y1="12731" x2="30035" y2="8830"/>
                        <a14:foregroundMark x1="90625" y1="13758" x2="91319" y2="42300"/>
                        <a14:foregroundMark x1="75174" y1="27926" x2="41319" y2="44148"/>
                        <a14:foregroundMark x1="41319" y1="44148" x2="41319" y2="44148"/>
                        <a14:foregroundMark x1="96181" y1="22177" x2="91319" y2="39425"/>
                        <a14:foregroundMark x1="56412" y1="21119" x2="44444" y2="26283"/>
                        <a14:foregroundMark x1="84896" y1="8830" x2="79124" y2="11320"/>
                        <a14:foregroundMark x1="44444" y1="26283" x2="24479" y2="51745"/>
                        <a14:foregroundMark x1="28472" y1="10883" x2="22917" y2="51745"/>
                        <a14:foregroundMark x1="5903" y1="44148" x2="21181" y2="44148"/>
                        <a14:foregroundMark x1="27778" y1="9856" x2="39757" y2="36550"/>
                        <a14:foregroundMark x1="82465" y1="4107" x2="88889" y2="26078"/>
                        <a14:foregroundMark x1="38194" y1="19302" x2="28472" y2="20329"/>
                        <a14:foregroundMark x1="76042" y1="26078" x2="55903" y2="41273"/>
                        <a14:foregroundMark x1="80035" y1="23203" x2="60764" y2="32649"/>
                        <a14:backgroundMark x1="76042" y1="16632" x2="59896" y2="24230"/>
                        <a14:backgroundMark x1="80035" y1="12731" x2="55903" y2="203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76648" y="4930571"/>
            <a:ext cx="1350758" cy="1142047"/>
          </a:xfrm>
          <a:prstGeom prst="rect">
            <a:avLst/>
          </a:prstGeom>
        </p:spPr>
      </p:pic>
      <p:pic>
        <p:nvPicPr>
          <p:cNvPr id="33" name="Picture 1" descr="Picture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979" b="89809" l="3239" r="95682">
                        <a14:foregroundMark x1="64238" y1="24204" x2="62213" y2="30573"/>
                        <a14:foregroundMark x1="38192" y1="29299" x2="32254" y2="29936"/>
                        <a14:foregroundMark x1="22672" y1="54352" x2="26721" y2="51805"/>
                        <a14:foregroundMark x1="78831" y1="47072" x2="81646" y2="53715"/>
                        <a14:foregroundMark x1="93252" y1="73248" x2="78517" y2="46855"/>
                        <a14:foregroundMark x1="8232" y1="61783" x2="10796" y2="76221"/>
                        <a14:foregroundMark x1="6748" y1="72611" x2="12281" y2="78769"/>
                        <a14:foregroundMark x1="3779" y1="74310" x2="3239" y2="71975"/>
                        <a14:foregroundMark x1="95682" y1="70701" x2="90688" y2="66879"/>
                        <a14:foregroundMark x1="76248" y1="44374" x2="82186" y2="52442"/>
                        <a14:foregroundMark x1="80162" y1="46285" x2="75709" y2="44374"/>
                        <a14:backgroundMark x1="75709" y1="39915" x2="76248" y2="33121"/>
                        <a14:backgroundMark x1="79751" y1="42055" x2="82186" y2="43737"/>
                        <a14:backgroundMark x1="76653" y1="39915" x2="78570" y2="41239"/>
                        <a14:backgroundMark x1="77733" y1="39278" x2="72740" y2="3800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72771" y="3332048"/>
            <a:ext cx="1576709" cy="1256797"/>
          </a:xfrm>
          <a:prstGeom prst="rect">
            <a:avLst/>
          </a:prstGeom>
        </p:spPr>
      </p:pic>
      <p:pic>
        <p:nvPicPr>
          <p:cNvPr id="34" name="Picture 1" descr="Picture"/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626" b="90909" l="863" r="94245">
                        <a14:foregroundMark x1="94388" y1="59091" x2="92950" y2="63369"/>
                        <a14:foregroundMark x1="69928" y1="91176" x2="75396" y2="88770"/>
                        <a14:foregroundMark x1="36547" y1="70053" x2="34388" y2="67647"/>
                        <a14:foregroundMark x1="16691" y1="69251" x2="34388" y2="39037"/>
                        <a14:foregroundMark x1="34388" y1="20588" x2="32950" y2="20588"/>
                        <a14:foregroundMark x1="863" y1="66310" x2="11799" y2="6149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5143" y="4771865"/>
            <a:ext cx="1766284" cy="1310671"/>
          </a:xfrm>
          <a:prstGeom prst="rect">
            <a:avLst/>
          </a:prstGeom>
        </p:spPr>
      </p:pic>
      <p:pic>
        <p:nvPicPr>
          <p:cNvPr id="35" name="Picture 1" descr="Picture"/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3694" b="93434" l="1963" r="98298">
                        <a14:foregroundMark x1="20288" y1="25581" x2="38743" y2="14637"/>
                        <a14:foregroundMark x1="56152" y1="3694" x2="43717" y2="12722"/>
                        <a14:foregroundMark x1="16361" y1="93570" x2="22251" y2="92339"/>
                        <a14:foregroundMark x1="98429" y1="29822" x2="88482" y2="32148"/>
                        <a14:foregroundMark x1="2321" y1="88229" x2="1963" y2="88509"/>
                        <a14:foregroundMark x1="40707" y1="58276" x2="8407" y2="83481"/>
                        <a14:foregroundMark x1="9260" y1="86903" x2="9424" y2="86867"/>
                        <a14:foregroundMark x1="1963" y1="88509" x2="2292" y2="88437"/>
                        <a14:backgroundMark x1="6414" y1="83174" x2="5366" y2="90561"/>
                        <a14:backgroundMark x1="916" y1="95349" x2="6414" y2="77155"/>
                        <a14:backgroundMark x1="3403" y1="94118" x2="1440" y2="8440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64975" y="4518492"/>
            <a:ext cx="1827180" cy="1495677"/>
          </a:xfrm>
          <a:prstGeom prst="rect">
            <a:avLst/>
          </a:prstGeom>
        </p:spPr>
      </p:pic>
      <p:pic>
        <p:nvPicPr>
          <p:cNvPr id="36" name="Picture 1" descr="Picture"/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6404" b="92980" l="9366" r="91643">
                        <a14:foregroundMark x1="46686" y1="6650" x2="52738" y2="6650"/>
                        <a14:foregroundMark x1="86167" y1="48522" x2="74928" y2="76355"/>
                        <a14:foregroundMark x1="74928" y1="76355" x2="42795" y2="88300"/>
                        <a14:foregroundMark x1="42795" y1="88300" x2="42795" y2="88300"/>
                        <a14:foregroundMark x1="9366" y1="51970" x2="9366" y2="70813"/>
                        <a14:foregroundMark x1="37176" y1="88300" x2="42795" y2="93103"/>
                        <a14:foregroundMark x1="91643" y1="77094" x2="86744" y2="4569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08161" y="3404041"/>
            <a:ext cx="1270735" cy="1012904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efCo4.jOQeKjjU29iDakCw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MdeSoRDCTh.FpyVirY3z5A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MdeSoRDCTh.FpyVirY3z5A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CC93X01SQ7usGa8NWeQzew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CC93X01SQ7usGa8NWeQzew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BMbcyLT4SP6K3QGT3wzs2g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BMbcyLT4SP6K3QGT3wzs2g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tfpTy5MX7RUe0iA.9jXEiTA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fpTy5MX7RUe0iA.9jXEiTA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CoJB.e8HSViX5Q0s_U91I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EJfEhO7uQJ6u1epakZAFhg"/>
</p:tagLst>
</file>

<file path=ppt/tags/tag32.xml><?xml version="1.0" encoding="utf-8"?>
<p:tagLst xmlns:p="http://schemas.openxmlformats.org/presentationml/2006/main">
  <p:tag name="THINKCELLSHAPEDONOTDELETE" val="thinkcellActiveDocDoNotDelete"/>
</p:tagLst>
</file>

<file path=ppt/tags/tag33.xml><?xml version="1.0" encoding="utf-8"?>
<p:tagLst xmlns:p="http://schemas.openxmlformats.org/presentationml/2006/main">
  <p:tag name="THINKCELLSHAPEDONOTDELETE" val="tkxSBxD_oTdKpquzhlUYsTw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dGY5k_6XQo.oP0ef1pb0pw"/>
</p:tagLst>
</file>

<file path=ppt/tags/tag36.xml><?xml version="1.0" encoding="utf-8"?>
<p:tagLst xmlns:p="http://schemas.openxmlformats.org/presentationml/2006/main">
  <p:tag name="THINKCELLSHAPEDONOTDELETE" val="thinkcellActiveDocDoNotDelete"/>
</p:tagLst>
</file>

<file path=ppt/tags/tag37.xml><?xml version="1.0" encoding="utf-8"?>
<p:tagLst xmlns:p="http://schemas.openxmlformats.org/presentationml/2006/main">
  <p:tag name="THINKCELLSHAPEDONOTDELETE" val="tRDIbu8mNSRmtpYiIyypg7g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2z13HgEsR4yN3qNS0pVKtw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hinkcellActiveDocDoNotDelete"/>
</p:tagLst>
</file>

<file path=ppt/tags/tag41.xml><?xml version="1.0" encoding="utf-8"?>
<p:tagLst xmlns:p="http://schemas.openxmlformats.org/presentationml/2006/main">
  <p:tag name="THINKCELLSHAPEDONOTDELETE" val="t_75GDBl1Qg.LicFT.Tltow"/>
</p:tagLst>
</file>

<file path=ppt/tags/tag42.xml><?xml version="1.0" encoding="utf-8"?>
<p:tagLst xmlns:p="http://schemas.openxmlformats.org/presentationml/2006/main">
  <p:tag name="EE4P_MASTERWIZARD" val="LEDVANCE_LOGO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7pxtpl0BQGytLFVaoyJ9cg"/>
</p:tagLst>
</file>

<file path=ppt/tags/tag45.xml><?xml version="1.0" encoding="utf-8"?>
<p:tagLst xmlns:p="http://schemas.openxmlformats.org/presentationml/2006/main">
  <p:tag name="EE4P_MASTERWIZARD" val="LEDVANCE_LOGO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_1SKXFk4QbqhlpvC0E7t.A"/>
</p:tagLst>
</file>

<file path=ppt/tags/tag48.xml><?xml version="1.0" encoding="utf-8"?>
<p:tagLst xmlns:p="http://schemas.openxmlformats.org/presentationml/2006/main">
  <p:tag name="THINKCELLSHAPEDONOTDELETE" val="thinkcellActiveDocDoNotDelete"/>
</p:tagLst>
</file>

<file path=ppt/tags/tag49.xml><?xml version="1.0" encoding="utf-8"?>
<p:tagLst xmlns:p="http://schemas.openxmlformats.org/presentationml/2006/main">
  <p:tag name="THINKCELLSHAPEDONOTDELETE" val="tV8RRgMqESgq4l9lwOXEUs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hinkcellActiveDocDoNotDelete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hinkcellActiveDocDoNotDelete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hinkcellActiveDocDoNotDelete"/>
</p:tagLst>
</file>

<file path=ppt/tags/tag59.xml><?xml version="1.0" encoding="utf-8"?>
<p:tagLst xmlns:p="http://schemas.openxmlformats.org/presentationml/2006/main">
  <p:tag name="THINKCELLSHAPEDONOTDELETE" val="tvIBoiCVTSVeiWE1KV9C0ag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THINKCELLSHAPEDONOTDELETE" val="thinkcellActiveDocDoNotDelete"/>
</p:tagLst>
</file>

<file path=ppt/tags/tag61.xml><?xml version="1.0" encoding="utf-8"?>
<p:tagLst xmlns:p="http://schemas.openxmlformats.org/presentationml/2006/main">
  <p:tag name="THINKCELLSHAPEDONOTDELETE" val="tYRgmZ3WgSPW6bAB6yOVogw"/>
</p:tagLst>
</file>

<file path=ppt/tags/tag62.xml><?xml version="1.0" encoding="utf-8"?>
<p:tagLst xmlns:p="http://schemas.openxmlformats.org/presentationml/2006/main">
  <p:tag name="THINKCELLSHAPEDONOTDELETE" val="thinkcellActiveDocDoNotDelete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EE4P_STYLE_ID" val="6391c4b3-6ff1-44de-b4bb-0a4e39bbacaa"/>
  <p:tag name="THINKCELLPRESENTATIONDONOTDELETE" val="&lt;?xml version=&quot;1.0&quot; encoding=&quot;UTF-16&quot; standalone=&quot;yes&quot;?&gt;&lt;root reqver=&quot;28224&quot;&gt;&lt;version val=&quot;352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Line&quot; id=&quot;1_2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62512&quot; top=&quot;143.875&quot; width=&quot;878.7499&quot; height=&quot;344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Divider&quot; customLayoutIndex=&quot;&quot; showBreak=&quot;1&quot; singleAgendaSlideSelected=&quot;0&quot; backupSlideTitle=&quot;Backup: %agendaName%&quot; topMargin=&quot;0&quot; leftMargin=&quot;0&quot; allowedLevels=&quot;4&quot; itemNoFormats=&quot;{1}.¦{1}.{2}¦{3:alphaLC}.¦{3:alphaLC}.{4:alphaLC}&quot; /&gt;&lt;!-- Agenda item formats --&gt;&lt;cases&gt;&lt;case level=&quot;1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case level=&quot;1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0&quot; createBackupSlide=&quot;0&quot; layoutId=&quot;1_2&quot; fontSizeAuto=&quot;0&quot; hideSeparatingSlides=&quot;0&quot; createSections=&quot;0&quot; singleSlideId=&quot;3885ad16-df10-445e-a589-d916f009219a&quot; backupSlideId=&quot;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311.0894&quot; /&gt;&lt;column field=&quot;responsible&quot; label=&quot;Responsible&quot; visible=&quot;1&quot; checked=&quot;1&quot; leftSpacing=&quot;10&quot; rightDistribute=&quot;1&quot; dock=&quot;1&quot; rightSpacing=&quot;311.0894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items&gt;&lt;item duration=&quot;30&quot; id=&quot;8a2c5ece-ad32-41aa-b02f-a9f075ca0e44&quot; parentId=&quot;&quot; level=&quot;1&quot; generateAgendaSlide=&quot;1&quot; showAgendaItem=&quot;1&quot; isBreak=&quot;0&quot; topic=&quot;&amp;lt;Topic 1&amp;gt;&quot; agendaSlideId=&quot;&quot; responsible=&quot;&quot; /&gt;&lt;item duration=&quot;30&quot; id=&quot;811a5b33-c6f0-4a31-ac6b-8ab8e5151b65&quot; parentId=&quot;&quot; level=&quot;1&quot; generateAgendaSlide=&quot;1&quot; showAgendaItem=&quot;1&quot; isBreak=&quot;0&quot; topic=&quot;&amp;lt;Topic 2&amp;gt;&quot; agendaSlideId=&quot;&quot; responsible=&quot;&quot; /&gt;&lt;item duration=&quot;30&quot; id=&quot;7e5c4f1e-ea96-4560-8008-5bdd77e9afde&quot; parentId=&quot;&quot; level=&quot;1&quot; generateAgendaSlide=&quot;1&quot; showAgendaItem=&quot;1&quot; isBreak=&quot;0&quot; topic=&quot;&amp;lt;Topic 3&amp;gt;&quot; responsible=&quot;&quot; /&gt;&lt;item duration=&quot;30&quot; id=&quot;d453397e-d1b5-4f89-9e4a-79d8f77828b3&quot; parentId=&quot;&quot; level=&quot;1&quot; generateAgendaSlide=&quot;1&quot; showAgendaItem=&quot;1&quot; isBreak=&quot;0&quot; topic=&quot;&amp;lt;Topic 4&amp;gt;&quot; responsible=&quot;&quot; /&gt;&lt;item duration=&quot;30&quot; id=&quot;ba1b36c4-c30a-404c-a86e-871dcc61e378&quot; parentId=&quot;&quot; level=&quot;1&quot; generateAgendaSlide=&quot;1&quot; showAgendaItem=&quot;1&quot; isBreak=&quot;0&quot; topic=&quot;&amp;lt;Topic 5&amp;gt;&quot; responsible=&quot;&quot; /&gt;&lt;/items&gt;&lt;/agenda&gt;&lt;/contents&gt;&lt;/ee4p&gt;"/>
  <p:tag name="THINKCELLUNDODONOTDELETE" val="0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NjYvEipYRlartBXnPbYg_g"/>
</p:tagLst>
</file>

<file path=ppt/theme/theme1.xml><?xml version="1.0" encoding="utf-8"?>
<a:theme xmlns:a="http://schemas.openxmlformats.org/drawingml/2006/main" name="LEDVANCE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600" dirty="0" err="1" smtClean="0"/>
        </a:defPPr>
      </a:lst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custClrLst>
    <a:custClr name="Green">
      <a:srgbClr val="9ECC14"/>
    </a:custClr>
    <a:custClr name="Turquoise">
      <a:srgbClr val="00A9B2"/>
    </a:custClr>
    <a:custClr name="Purple">
      <a:srgbClr val="5D305B"/>
    </a:custClr>
    <a:custClr name="Yellow">
      <a:srgbClr val="FFAB00"/>
    </a:custClr>
    <a:custClr name="Blue">
      <a:srgbClr val="91BED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4ffb7e6-092d-4538-a09d-7e0bb066b0b7">FAS4KSPHDCCV-194134388-813848</_dlc_DocId>
    <_dlc_DocIdUrl xmlns="74ffb7e6-092d-4538-a09d-7e0bb066b0b7">
      <Url>https://ledvance365.sharepoint.com/sites/10007205/_layouts/15/DocIdRedir.aspx?ID=FAS4KSPHDCCV-194134388-813848</Url>
      <Description>FAS4KSPHDCCV-194134388-813848</Description>
    </_dlc_DocIdUrl>
    <TaxCatchAll xmlns="74ffb7e6-092d-4538-a09d-7e0bb066b0b7" xsi:nil="true"/>
    <lcf76f155ced4ddcb4097134ff3c332f xmlns="599b3a61-1511-4ad4-8f70-51471335e484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1FE073C9E89D4C883016AA173E9560" ma:contentTypeVersion="16" ma:contentTypeDescription="Create a new document." ma:contentTypeScope="" ma:versionID="b0f3b5a584646dd4a83ad82581d81ae0">
  <xsd:schema xmlns:xsd="http://www.w3.org/2001/XMLSchema" xmlns:xs="http://www.w3.org/2001/XMLSchema" xmlns:p="http://schemas.microsoft.com/office/2006/metadata/properties" xmlns:ns2="74ffb7e6-092d-4538-a09d-7e0bb066b0b7" xmlns:ns3="599b3a61-1511-4ad4-8f70-51471335e484" xmlns:ns4="05dc651b-2304-4d48-a701-d56f28ef41bb" targetNamespace="http://schemas.microsoft.com/office/2006/metadata/properties" ma:root="true" ma:fieldsID="afcd8b86e77a5d63e3ec7f8dae9a37b0" ns2:_="" ns3:_="" ns4:_="">
    <xsd:import namespace="74ffb7e6-092d-4538-a09d-7e0bb066b0b7"/>
    <xsd:import namespace="599b3a61-1511-4ad4-8f70-51471335e484"/>
    <xsd:import namespace="05dc651b-2304-4d48-a701-d56f28ef41b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ffb7e6-092d-4538-a09d-7e0bb066b0b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9" nillable="true" ma:displayName="Taxonomy Catch All Column" ma:hidden="true" ma:list="{65ed7e2e-3803-49b9-85e0-4c887d6cfcb3}" ma:internalName="TaxCatchAll" ma:showField="CatchAllData" ma:web="05dc651b-2304-4d48-a701-d56f28ef41b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9b3a61-1511-4ad4-8f70-51471335e4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91f32e0-ce09-4d54-8cd8-e0cdb957bf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3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dc651b-2304-4d48-a701-d56f28ef41b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64.xml><?xml version="1.0" encoding="utf-8"?>
<ds:datastoreItem xmlns:ds="http://schemas.openxmlformats.org/officeDocument/2006/customXml" ds:itemID="{E27092BC-5581-441A-811D-B58778018666}">
  <ds:schemaRefs/>
</ds:datastoreItem>
</file>

<file path=customXml/itemProps65.xml><?xml version="1.0" encoding="utf-8"?>
<ds:datastoreItem xmlns:ds="http://schemas.openxmlformats.org/officeDocument/2006/customXml" ds:itemID="{241E568C-D133-48FD-9A36-C2A4D5E7B044}">
  <ds:schemaRefs/>
</ds:datastoreItem>
</file>

<file path=customXml/itemProps66.xml><?xml version="1.0" encoding="utf-8"?>
<ds:datastoreItem xmlns:ds="http://schemas.openxmlformats.org/officeDocument/2006/customXml" ds:itemID="{FBCE4C6B-83D5-4CD9-B9FB-7905626DF4BF}">
  <ds:schemaRefs/>
</ds:datastoreItem>
</file>

<file path=customXml/itemProps67.xml><?xml version="1.0" encoding="utf-8"?>
<ds:datastoreItem xmlns:ds="http://schemas.openxmlformats.org/officeDocument/2006/customXml" ds:itemID="{730403BE-2BC7-4D7C-ACD7-51590BB373E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12</Words>
  <Application>WPS Presentation</Application>
  <PresentationFormat>Widescreen</PresentationFormat>
  <Paragraphs>394</Paragraphs>
  <Slides>1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9</vt:i4>
      </vt:variant>
      <vt:variant>
        <vt:lpstr>幻灯片标题</vt:lpstr>
      </vt:variant>
      <vt:variant>
        <vt:i4>15</vt:i4>
      </vt:variant>
    </vt:vector>
  </HeadingPairs>
  <TitlesOfParts>
    <vt:vector size="62" baseType="lpstr">
      <vt:lpstr>Arial</vt:lpstr>
      <vt:lpstr>SimSun</vt:lpstr>
      <vt:lpstr>Wingdings</vt:lpstr>
      <vt:lpstr>Calibri</vt:lpstr>
      <vt:lpstr>Arial</vt:lpstr>
      <vt:lpstr>Microsoft YaHei</vt:lpstr>
      <vt:lpstr>Arial Unicode MS</vt:lpstr>
      <vt:lpstr>LEDVANC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Однофазные трековые светильники и аксессуары LEDVANCE ECO TRACKSPOT</vt:lpstr>
      <vt:lpstr>Однофазные трековые светильники ECO Обзор продукта</vt:lpstr>
      <vt:lpstr>Общий обзор ECO TRACKSP &amp; ACCESSORIES</vt:lpstr>
      <vt:lpstr>Светодиодные однофазные треки ECO TRACKSPOT</vt:lpstr>
      <vt:lpstr>PowerPoint 演示文稿</vt:lpstr>
      <vt:lpstr>PowerPoint 演示文稿</vt:lpstr>
      <vt:lpstr>PowerPoint 演示文稿</vt:lpstr>
      <vt:lpstr>Трековые аксессуары LEDVANCE</vt:lpstr>
      <vt:lpstr>PowerPoint 演示文稿</vt:lpstr>
      <vt:lpstr>Как подключить любой светильник к трековой системе  LEDVANCE с помощью адаптеров</vt:lpstr>
      <vt:lpstr>Сравнение трековых шинопроводов 1м LEDVANCE с другим брендом</vt:lpstr>
      <vt:lpstr>Сравнение трековых шинопроводов 1м LEDVANCE с другим брендом</vt:lpstr>
      <vt:lpstr>Сравнение трековых шинопроводов 1м LEDVANCE с другим брендом</vt:lpstr>
      <vt:lpstr>Сравнение трековых шинопроводов 1м LEDVANCE с другим брендом</vt:lpstr>
      <vt:lpstr>Переходи на ledvance!</vt:lpstr>
    </vt:vector>
  </TitlesOfParts>
  <Company>LEDVAN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new PPT in Arial bold Subtitle of pPT in Arial reg</dc:title>
  <dc:creator>Lal, Anirudh</dc:creator>
  <cp:lastModifiedBy>User</cp:lastModifiedBy>
  <cp:revision>3</cp:revision>
  <dcterms:created xsi:type="dcterms:W3CDTF">2023-11-23T15:21:00Z</dcterms:created>
  <dcterms:modified xsi:type="dcterms:W3CDTF">2025-11-08T12:1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1FE073C9E89D4C883016AA173E9560</vt:lpwstr>
  </property>
  <property fmtid="{D5CDD505-2E9C-101B-9397-08002B2CF9AE}" pid="3" name="_dlc_DocIdItemGuid">
    <vt:lpwstr>34d9b5fd-4dd8-4719-8c21-ee17217447c5</vt:lpwstr>
  </property>
  <property fmtid="{D5CDD505-2E9C-101B-9397-08002B2CF9AE}" pid="4" name="MediaServiceImageTags">
    <vt:lpwstr/>
  </property>
  <property fmtid="{D5CDD505-2E9C-101B-9397-08002B2CF9AE}" pid="5" name="ICV">
    <vt:lpwstr>978CFD57E8204D7D961A92E30FBF0B91_13</vt:lpwstr>
  </property>
  <property fmtid="{D5CDD505-2E9C-101B-9397-08002B2CF9AE}" pid="6" name="KSOProductBuildVer">
    <vt:lpwstr>1049-12.2.0.23155</vt:lpwstr>
  </property>
</Properties>
</file>